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charts/chart5.xml" ContentType="application/vnd.openxmlformats-officedocument.drawingml.chart+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charts/chart6.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charts/chart7.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charts/chart8.xml" ContentType="application/vnd.openxmlformats-officedocument.drawingml.chart+xml"/>
  <Override PartName="/ppt/tags/tag82.xml" ContentType="application/vnd.openxmlformats-officedocument.presentationml.tags+xml"/>
  <Override PartName="/ppt/tags/tag83.xml" ContentType="application/vnd.openxmlformats-officedocument.presentationml.tags+xml"/>
  <Override PartName="/ppt/notesSlides/notesSlide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charts/chart9.xml" ContentType="application/vnd.openxmlformats-officedocument.drawingml.chart+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9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05" r:id="rId4"/>
    <p:sldMasterId id="2147484371" r:id="rId5"/>
    <p:sldMasterId id="2147484591" r:id="rId6"/>
    <p:sldMasterId id="2147484701" r:id="rId7"/>
    <p:sldMasterId id="2147484758" r:id="rId8"/>
  </p:sldMasterIdLst>
  <p:notesMasterIdLst>
    <p:notesMasterId r:id="rId26"/>
  </p:notesMasterIdLst>
  <p:handoutMasterIdLst>
    <p:handoutMasterId r:id="rId27"/>
  </p:handoutMasterIdLst>
  <p:sldIdLst>
    <p:sldId id="280" r:id="rId9"/>
    <p:sldId id="2147480784" r:id="rId10"/>
    <p:sldId id="2147480763" r:id="rId11"/>
    <p:sldId id="2147480766" r:id="rId12"/>
    <p:sldId id="2147480767" r:id="rId13"/>
    <p:sldId id="2147480768" r:id="rId14"/>
    <p:sldId id="2147480765" r:id="rId15"/>
    <p:sldId id="2147480772" r:id="rId16"/>
    <p:sldId id="2147480776" r:id="rId17"/>
    <p:sldId id="2147480775" r:id="rId18"/>
    <p:sldId id="2147480777" r:id="rId19"/>
    <p:sldId id="2147480779" r:id="rId20"/>
    <p:sldId id="2147480778" r:id="rId21"/>
    <p:sldId id="2147480780" r:id="rId22"/>
    <p:sldId id="2147480781" r:id="rId23"/>
    <p:sldId id="2147480782" r:id="rId24"/>
    <p:sldId id="295" r:id="rId25"/>
  </p:sldIdLst>
  <p:sldSz cx="12198350" cy="6858000"/>
  <p:notesSz cx="6950075" cy="923607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059A7E-2B5A-46A2-BCA2-4E4471A9B05B}">
          <p14:sldIdLst>
            <p14:sldId id="280"/>
            <p14:sldId id="2147480784"/>
            <p14:sldId id="2147480763"/>
            <p14:sldId id="2147480766"/>
            <p14:sldId id="2147480767"/>
            <p14:sldId id="2147480768"/>
            <p14:sldId id="2147480765"/>
            <p14:sldId id="2147480772"/>
            <p14:sldId id="2147480776"/>
            <p14:sldId id="2147480775"/>
            <p14:sldId id="2147480777"/>
            <p14:sldId id="2147480779"/>
            <p14:sldId id="2147480778"/>
            <p14:sldId id="2147480780"/>
            <p14:sldId id="2147480781"/>
            <p14:sldId id="2147480782"/>
            <p14:sldId id="295"/>
          </p14:sldIdLst>
        </p14:section>
      </p14:sectionLst>
    </p:ext>
    <p:ext uri="{EFAFB233-063F-42B5-8137-9DF3F51BA10A}">
      <p15:sldGuideLst xmlns:p15="http://schemas.microsoft.com/office/powerpoint/2012/main">
        <p15:guide id="7" pos="7296" userDrawn="1">
          <p15:clr>
            <a:srgbClr val="A4A3A4"/>
          </p15:clr>
        </p15:guide>
        <p15:guide id="8" orient="horz" pos="2184"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4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2E2E38"/>
    <a:srgbClr val="C4C4CD"/>
    <a:srgbClr val="747480"/>
    <a:srgbClr val="FF6D00"/>
    <a:srgbClr val="2DB757"/>
    <a:srgbClr val="750E5C"/>
    <a:srgbClr val="27ACAA"/>
    <a:srgbClr val="188CE5"/>
    <a:srgbClr val="9999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30BB60-741E-401E-BFA0-0DA4B055A15B}" v="4" dt="2023-08-24T14:45:04.7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7" autoAdjust="0"/>
    <p:restoredTop sz="93792" autoAdjust="0"/>
  </p:normalViewPr>
  <p:slideViewPr>
    <p:cSldViewPr snapToGrid="0">
      <p:cViewPr varScale="1">
        <p:scale>
          <a:sx n="97" d="100"/>
          <a:sy n="97" d="100"/>
        </p:scale>
        <p:origin x="84" y="114"/>
      </p:cViewPr>
      <p:guideLst>
        <p:guide pos="7296"/>
        <p:guide orient="horz" pos="2184"/>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98630136986301E-2"/>
          <c:y val="1.7741385192766974E-2"/>
          <c:w val="0.91570073761854587"/>
          <c:h val="0.96451722961446607"/>
        </c:manualLayout>
      </c:layout>
      <c:barChart>
        <c:barDir val="bar"/>
        <c:grouping val="stacked"/>
        <c:varyColors val="0"/>
        <c:ser>
          <c:idx val="0"/>
          <c:order val="0"/>
          <c:spPr>
            <a:solidFill>
              <a:srgbClr val="C4C4CD"/>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0-ADFB-4D67-BC5B-0C50273A2AF1}"/>
              </c:ext>
            </c:extLst>
          </c:dPt>
          <c:dLbls>
            <c:dLbl>
              <c:idx val="0"/>
              <c:layout>
                <c:manualLayout>
                  <c:x val="0.49097889251255966"/>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FB-4D67-BC5B-0C50273A2AF1}"/>
                </c:ext>
              </c:extLst>
            </c:dLbl>
            <c:dLbl>
              <c:idx val="1"/>
              <c:layout>
                <c:manualLayout>
                  <c:x val="0.4710724283084096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DFB-4D67-BC5B-0C50273A2AF1}"/>
                </c:ext>
              </c:extLst>
            </c:dLbl>
            <c:dLbl>
              <c:idx val="2"/>
              <c:layout>
                <c:manualLayout>
                  <c:x val="0.4053669759378298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DFB-4D67-BC5B-0C50273A2AF1}"/>
                </c:ext>
              </c:extLst>
            </c:dLbl>
            <c:dLbl>
              <c:idx val="3"/>
              <c:layout>
                <c:manualLayout>
                  <c:x val="0.3934300014635955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DFB-4D67-BC5B-0C50273A2AF1}"/>
                </c:ext>
              </c:extLst>
            </c:dLbl>
            <c:dLbl>
              <c:idx val="4"/>
              <c:layout>
                <c:manualLayout>
                  <c:x val="0.3834767693615208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DFB-4D67-BC5B-0C50273A2AF1}"/>
                </c:ext>
              </c:extLst>
            </c:dLbl>
            <c:dLbl>
              <c:idx val="5"/>
              <c:layout>
                <c:manualLayout>
                  <c:x val="0.36555389132934324"/>
                  <c:y val="5.450627597752371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DFB-4D67-BC5B-0C50273A2AF1}"/>
                </c:ext>
              </c:extLst>
            </c:dLbl>
            <c:dLbl>
              <c:idx val="6"/>
              <c:layout>
                <c:manualLayout>
                  <c:x val="0.35361691685510915"/>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DFB-4D67-BC5B-0C50273A2AF1}"/>
                </c:ext>
              </c:extLst>
            </c:dLbl>
            <c:dLbl>
              <c:idx val="7"/>
              <c:layout>
                <c:manualLayout>
                  <c:x val="0.3436636847530342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DFB-4D67-BC5B-0C50273A2AF1}"/>
                </c:ext>
              </c:extLst>
            </c:dLbl>
            <c:dLbl>
              <c:idx val="8"/>
              <c:layout>
                <c:manualLayout>
                  <c:x val="0.32177332197653835"/>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DFB-4D67-BC5B-0C50273A2AF1}"/>
                </c:ext>
              </c:extLst>
            </c:dLbl>
            <c:dLbl>
              <c:idx val="9"/>
              <c:layout>
                <c:manualLayout>
                  <c:x val="0.3118200898744634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DFB-4D67-BC5B-0C50273A2AF1}"/>
                </c:ext>
              </c:extLst>
            </c:dLbl>
            <c:dLbl>
              <c:idx val="10"/>
              <c:layout>
                <c:manualLayout>
                  <c:x val="0.31182008987446347"/>
                  <c:y val="1.0901255195504743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DFB-4D67-BC5B-0C50273A2AF1}"/>
                </c:ext>
              </c:extLst>
            </c:dLbl>
            <c:dLbl>
              <c:idx val="11"/>
              <c:layout>
                <c:manualLayout>
                  <c:x val="0.3118200898744634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DFB-4D67-BC5B-0C50273A2AF1}"/>
                </c:ext>
              </c:extLst>
            </c:dLbl>
            <c:dLbl>
              <c:idx val="12"/>
              <c:layout>
                <c:manualLayout>
                  <c:x val="0.3018668577723885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DFB-4D67-BC5B-0C50273A2AF1}"/>
                </c:ext>
              </c:extLst>
            </c:dLbl>
            <c:dLbl>
              <c:idx val="13"/>
              <c:layout>
                <c:manualLayout>
                  <c:x val="0.2938972118422859"/>
                  <c:y val="1.0901255195504743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DFB-4D67-BC5B-0C50273A2AF1}"/>
                </c:ext>
              </c:extLst>
            </c:dLbl>
            <c:dLbl>
              <c:idx val="14"/>
              <c:layout>
                <c:manualLayout>
                  <c:x val="0.2222406885554153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DFB-4D67-BC5B-0C50273A2AF1}"/>
                </c:ext>
              </c:extLst>
            </c:dLbl>
            <c:dLbl>
              <c:idx val="15"/>
              <c:layout>
                <c:manualLayout>
                  <c:x val="0.1525677514405172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DFB-4D67-BC5B-0C50273A2AF1}"/>
                </c:ext>
              </c:extLst>
            </c:dLbl>
            <c:dLbl>
              <c:idx val="16"/>
              <c:layout>
                <c:manualLayout>
                  <c:x val="0.1386470345941239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DFB-4D67-BC5B-0C50273A2AF1}"/>
                </c:ext>
              </c:extLst>
            </c:dLbl>
            <c:dLbl>
              <c:idx val="17"/>
              <c:layout>
                <c:manualLayout>
                  <c:x val="0.11298756131052581"/>
                  <c:y val="1.0901255195504743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DFB-4D67-BC5B-0C50273A2AF1}"/>
                </c:ext>
              </c:extLst>
            </c:dLbl>
            <c:dLbl>
              <c:idx val="18"/>
              <c:layout>
                <c:manualLayout>
                  <c:x val="8.114412263214182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DFB-4D67-BC5B-0C50273A2AF1}"/>
                </c:ext>
              </c:extLst>
            </c:dLbl>
            <c:dLbl>
              <c:idx val="19"/>
              <c:layout>
                <c:manualLayout>
                  <c:x val="3.6257187356344638E-2"/>
                  <c:y val="2.1802510391009487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DFB-4D67-BC5B-0C50273A2AF1}"/>
                </c:ext>
              </c:extLst>
            </c:dLbl>
            <c:numFmt formatCode="#,##0&quot;%&quot;" sourceLinked="0"/>
            <c:spPr>
              <a:noFill/>
              <a:ln>
                <a:noFill/>
              </a:ln>
              <a:effectLst/>
            </c:spPr>
            <c:txPr>
              <a:bodyPr wrap="square" lIns="38100" tIns="19050" rIns="38100" bIns="19050" anchor="ctr">
                <a:spAutoFit/>
              </a:bodyPr>
              <a:lstStyle/>
              <a:p>
                <a:pPr>
                  <a:defRPr>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A$1:$T$1</c:f>
              <c:numCache>
                <c:formatCode>0"%";"-"0"%"</c:formatCode>
                <c:ptCount val="20"/>
                <c:pt idx="0">
                  <c:v>46</c:v>
                </c:pt>
                <c:pt idx="1">
                  <c:v>44</c:v>
                </c:pt>
                <c:pt idx="2">
                  <c:v>37</c:v>
                </c:pt>
                <c:pt idx="3">
                  <c:v>36</c:v>
                </c:pt>
                <c:pt idx="4">
                  <c:v>35</c:v>
                </c:pt>
                <c:pt idx="5">
                  <c:v>33</c:v>
                </c:pt>
                <c:pt idx="6">
                  <c:v>32</c:v>
                </c:pt>
                <c:pt idx="7">
                  <c:v>31</c:v>
                </c:pt>
                <c:pt idx="8">
                  <c:v>29</c:v>
                </c:pt>
                <c:pt idx="9">
                  <c:v>28</c:v>
                </c:pt>
                <c:pt idx="10">
                  <c:v>28</c:v>
                </c:pt>
                <c:pt idx="11">
                  <c:v>28</c:v>
                </c:pt>
                <c:pt idx="12">
                  <c:v>27</c:v>
                </c:pt>
                <c:pt idx="13">
                  <c:v>26</c:v>
                </c:pt>
                <c:pt idx="14">
                  <c:v>19</c:v>
                </c:pt>
                <c:pt idx="15">
                  <c:v>12</c:v>
                </c:pt>
                <c:pt idx="16">
                  <c:v>11</c:v>
                </c:pt>
                <c:pt idx="17">
                  <c:v>9</c:v>
                </c:pt>
                <c:pt idx="18">
                  <c:v>6</c:v>
                </c:pt>
                <c:pt idx="19">
                  <c:v>1</c:v>
                </c:pt>
              </c:numCache>
            </c:numRef>
          </c:val>
          <c:extLst>
            <c:ext xmlns:c16="http://schemas.microsoft.com/office/drawing/2014/chart" uri="{C3380CC4-5D6E-409C-BE32-E72D297353CC}">
              <c16:uniqueId val="{00000014-ADFB-4D67-BC5B-0C50273A2AF1}"/>
            </c:ext>
          </c:extLst>
        </c:ser>
        <c:dLbls>
          <c:showLegendKey val="0"/>
          <c:showVal val="0"/>
          <c:showCatName val="0"/>
          <c:showSerName val="0"/>
          <c:showPercent val="0"/>
          <c:showBubbleSize val="0"/>
        </c:dLbls>
        <c:gapWidth val="25"/>
        <c:overlap val="100"/>
        <c:axId val="194261327"/>
        <c:axId val="1"/>
      </c:barChart>
      <c:catAx>
        <c:axId val="194261327"/>
        <c:scaling>
          <c:orientation val="maxMin"/>
        </c:scaling>
        <c:delete val="0"/>
        <c:axPos val="l"/>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46"/>
          <c:min val="0"/>
        </c:scaling>
        <c:delete val="1"/>
        <c:axPos val="t"/>
        <c:numFmt formatCode="0&quot;%&quot;;&quot;-&quot;0&quot;%&quot;" sourceLinked="1"/>
        <c:majorTickMark val="out"/>
        <c:minorTickMark val="none"/>
        <c:tickLblPos val="nextTo"/>
        <c:crossAx val="194261327"/>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434812316763142E-2"/>
          <c:y val="4.7186932849364795E-2"/>
          <c:w val="0.82698801058855365"/>
          <c:h val="0.90562613430127037"/>
        </c:manualLayout>
      </c:layout>
      <c:barChart>
        <c:barDir val="bar"/>
        <c:grouping val="stacked"/>
        <c:varyColors val="0"/>
        <c:ser>
          <c:idx val="0"/>
          <c:order val="0"/>
          <c:spPr>
            <a:solidFill>
              <a:schemeClr val="tx2"/>
            </a:solidFill>
            <a:ln w="3175" algn="ctr">
              <a:solidFill>
                <a:schemeClr val="tx1"/>
              </a:solidFill>
              <a:prstDash val="solid"/>
            </a:ln>
          </c:spPr>
          <c:invertIfNegative val="0"/>
          <c:dLbls>
            <c:dLbl>
              <c:idx val="0"/>
              <c:layout>
                <c:manualLayout>
                  <c:x val="0.46974876888793743"/>
                  <c:y val="-4.7285593216552088E-3"/>
                </c:manualLayout>
              </c:layout>
              <c:numFmt formatCode="0&quot;%&quot;;&quot;-&quot;0&quot;%&quot;" sourceLinked="0"/>
              <c:spPr>
                <a:noFill/>
                <a:ln>
                  <a:noFill/>
                </a:ln>
              </c:spPr>
              <c:txPr>
                <a:bodyPr wrap="none"/>
                <a:lstStyle/>
                <a:p>
                  <a:pPr>
                    <a:defRPr sz="14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88-4875-A5B1-2BEA69EACCA8}"/>
                </c:ext>
              </c:extLst>
            </c:dLbl>
            <c:dLbl>
              <c:idx val="1"/>
              <c:layout>
                <c:manualLayout>
                  <c:x val="0.44265153418093278"/>
                  <c:y val="-4.7281869648301529E-3"/>
                </c:manualLayout>
              </c:layout>
              <c:numFmt formatCode="0&quot;%&quot;;&quot;-&quot;0&quot;%&quot;" sourceLinked="0"/>
              <c:spPr>
                <a:noFill/>
                <a:ln>
                  <a:noFill/>
                </a:ln>
              </c:spPr>
              <c:txPr>
                <a:bodyPr wrap="none"/>
                <a:lstStyle/>
                <a:p>
                  <a:pPr>
                    <a:defRPr sz="1400" kern="1200" baseline="0">
                      <a:solidFill>
                        <a:schemeClr val="bg1"/>
                      </a:solidFill>
                      <a:latin typeface="EYInterstate Light" panose="02000506000000020004" pitchFamily="2" charset="0"/>
                      <a:ea typeface="EYInterstate Light"/>
                      <a:cs typeface="EYInterstate Ligh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88-4875-A5B1-2BEA69EACCA8}"/>
                </c:ext>
              </c:extLst>
            </c:dLbl>
            <c:dLbl>
              <c:idx val="2"/>
              <c:layout>
                <c:manualLayout>
                  <c:x val="0.32093630444023652"/>
                  <c:y val="4.7296763921305489E-3"/>
                </c:manualLayout>
              </c:layout>
              <c:numFmt formatCode="0&quot;%&quot;;&quot;-&quot;0&quot;%&quot;" sourceLinked="0"/>
              <c:spPr>
                <a:noFill/>
                <a:ln>
                  <a:noFill/>
                </a:ln>
              </c:spPr>
              <c:txPr>
                <a:bodyPr wrap="none"/>
                <a:lstStyle/>
                <a:p>
                  <a:pPr>
                    <a:defRPr sz="1400" kern="1200" baseline="0">
                      <a:solidFill>
                        <a:schemeClr val="bg1"/>
                      </a:solidFill>
                      <a:latin typeface="EYInterstate Light" panose="02000506000000020004" pitchFamily="2" charset="0"/>
                      <a:ea typeface="EYInterstate Light"/>
                      <a:cs typeface="EYInterstate Ligh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88-4875-A5B1-2BEA69EACCA8}"/>
                </c:ext>
              </c:extLst>
            </c:dLbl>
            <c:dLbl>
              <c:idx val="3"/>
              <c:layout>
                <c:manualLayout>
                  <c:x val="0.25266666666666665"/>
                  <c:y val="0"/>
                </c:manualLayout>
              </c:layout>
              <c:numFmt formatCode="0&quot;%&quot;;&quot;-&quot;0&quot;%&quot;" sourceLinked="0"/>
              <c:spPr>
                <a:noFill/>
                <a:ln>
                  <a:noFill/>
                </a:ln>
              </c:spPr>
              <c:txPr>
                <a:bodyPr wrap="none"/>
                <a:lstStyle/>
                <a:p>
                  <a:pPr>
                    <a:defRPr sz="1400" kern="1200" baseline="0">
                      <a:solidFill>
                        <a:schemeClr val="bg1"/>
                      </a:solidFill>
                      <a:latin typeface="EYInterstate Light" panose="02000506000000020004" pitchFamily="2" charset="0"/>
                      <a:ea typeface="EYInterstate Light"/>
                      <a:cs typeface="EYInterstate Ligh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88-4875-A5B1-2BEA69EACCA8}"/>
                </c:ext>
              </c:extLst>
            </c:dLbl>
            <c:spPr>
              <a:noFill/>
              <a:ln>
                <a:noFill/>
              </a:ln>
              <a:effectLst/>
            </c:spPr>
            <c:txPr>
              <a:bodyPr wrap="square" lIns="38100" tIns="19050" rIns="38100" bIns="19050" anchor="ctr">
                <a:spAutoFit/>
              </a:bodyPr>
              <a:lstStyle/>
              <a:p>
                <a:pPr>
                  <a:defRPr sz="1400" baseline="0">
                    <a:latin typeface="EYInterstate Light" panose="02000506000000020004"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9</c:v>
                </c:pt>
                <c:pt idx="1">
                  <c:v>56.000000000000007</c:v>
                </c:pt>
                <c:pt idx="2">
                  <c:v>39</c:v>
                </c:pt>
                <c:pt idx="3">
                  <c:v>28.999999999999996</c:v>
                </c:pt>
              </c:numCache>
            </c:numRef>
          </c:val>
          <c:extLst>
            <c:ext xmlns:c16="http://schemas.microsoft.com/office/drawing/2014/chart" uri="{C3380CC4-5D6E-409C-BE32-E72D297353CC}">
              <c16:uniqueId val="{00000004-5F88-4875-A5B1-2BEA69EACCA8}"/>
            </c:ext>
          </c:extLst>
        </c:ser>
        <c:dLbls>
          <c:showLegendKey val="0"/>
          <c:showVal val="0"/>
          <c:showCatName val="0"/>
          <c:showSerName val="0"/>
          <c:showPercent val="0"/>
          <c:showBubbleSize val="0"/>
        </c:dLbls>
        <c:gapWidth val="80"/>
        <c:overlap val="100"/>
        <c:axId val="82310927"/>
        <c:axId val="1"/>
      </c:barChart>
      <c:catAx>
        <c:axId val="82310927"/>
        <c:scaling>
          <c:orientation val="maxMin"/>
        </c:scaling>
        <c:delete val="0"/>
        <c:axPos val="l"/>
        <c:majorGridlines>
          <c:spPr>
            <a:ln>
              <a:noFill/>
            </a:ln>
          </c:spPr>
        </c:majorGridlines>
        <c:majorTickMark val="in"/>
        <c:minorTickMark val="none"/>
        <c:tickLblPos val="none"/>
        <c:spPr>
          <a:ln w="3175" algn="ctr">
            <a:solidFill>
              <a:schemeClr val="bg1"/>
            </a:solidFill>
            <a:prstDash val="solid"/>
          </a:ln>
        </c:spPr>
        <c:crossAx val="1"/>
        <c:crosses val="min"/>
        <c:auto val="0"/>
        <c:lblAlgn val="ctr"/>
        <c:lblOffset val="100"/>
        <c:noMultiLvlLbl val="0"/>
      </c:catAx>
      <c:valAx>
        <c:axId val="1"/>
        <c:scaling>
          <c:orientation val="minMax"/>
          <c:max val="59"/>
          <c:min val="0"/>
        </c:scaling>
        <c:delete val="1"/>
        <c:axPos val="t"/>
        <c:numFmt formatCode="General" sourceLinked="1"/>
        <c:majorTickMark val="out"/>
        <c:minorTickMark val="none"/>
        <c:tickLblPos val="nextTo"/>
        <c:crossAx val="82310927"/>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694656488549619E-2"/>
          <c:y val="4.7186932849364795E-2"/>
          <c:w val="0.81447178477690285"/>
          <c:h val="0.90562613430127037"/>
        </c:manualLayout>
      </c:layout>
      <c:barChart>
        <c:barDir val="bar"/>
        <c:grouping val="stacked"/>
        <c:varyColors val="0"/>
        <c:ser>
          <c:idx val="0"/>
          <c:order val="0"/>
          <c:spPr>
            <a:solidFill>
              <a:srgbClr val="747480"/>
            </a:solidFill>
            <a:ln>
              <a:noFill/>
            </a:ln>
          </c:spPr>
          <c:invertIfNegative val="0"/>
          <c:val>
            <c:numRef>
              <c:f>Sheet1!$A$1:$D$1</c:f>
              <c:numCache>
                <c:formatCode>General</c:formatCode>
                <c:ptCount val="4"/>
                <c:pt idx="0">
                  <c:v>33</c:v>
                </c:pt>
                <c:pt idx="1">
                  <c:v>28.000000000000004</c:v>
                </c:pt>
                <c:pt idx="2">
                  <c:v>32</c:v>
                </c:pt>
                <c:pt idx="3">
                  <c:v>38</c:v>
                </c:pt>
              </c:numCache>
            </c:numRef>
          </c:val>
          <c:extLst>
            <c:ext xmlns:c16="http://schemas.microsoft.com/office/drawing/2014/chart" uri="{C3380CC4-5D6E-409C-BE32-E72D297353CC}">
              <c16:uniqueId val="{00000000-939E-4101-9414-68C5D5E6E84D}"/>
            </c:ext>
          </c:extLst>
        </c:ser>
        <c:dLbls>
          <c:showLegendKey val="0"/>
          <c:showVal val="0"/>
          <c:showCatName val="0"/>
          <c:showSerName val="0"/>
          <c:showPercent val="0"/>
          <c:showBubbleSize val="0"/>
        </c:dLbls>
        <c:gapWidth val="80"/>
        <c:overlap val="100"/>
        <c:axId val="538076144"/>
        <c:axId val="1"/>
      </c:barChart>
      <c:catAx>
        <c:axId val="538076144"/>
        <c:scaling>
          <c:orientation val="maxMin"/>
        </c:scaling>
        <c:delete val="0"/>
        <c:axPos val="l"/>
        <c:majorGridlines>
          <c:spPr>
            <a:ln>
              <a:noFill/>
            </a:ln>
          </c:spPr>
        </c:majorGridlines>
        <c:majorTickMark val="in"/>
        <c:minorTickMark val="none"/>
        <c:tickLblPos val="none"/>
        <c:spPr>
          <a:ln w="3175" algn="ctr">
            <a:solidFill>
              <a:schemeClr val="bg1"/>
            </a:solidFill>
            <a:prstDash val="solid"/>
          </a:ln>
        </c:spPr>
        <c:crossAx val="1"/>
        <c:crosses val="min"/>
        <c:auto val="0"/>
        <c:lblAlgn val="ctr"/>
        <c:lblOffset val="100"/>
        <c:noMultiLvlLbl val="0"/>
      </c:catAx>
      <c:valAx>
        <c:axId val="1"/>
        <c:scaling>
          <c:orientation val="minMax"/>
          <c:max val="40"/>
          <c:min val="0"/>
        </c:scaling>
        <c:delete val="1"/>
        <c:axPos val="t"/>
        <c:numFmt formatCode="General" sourceLinked="1"/>
        <c:majorTickMark val="out"/>
        <c:minorTickMark val="none"/>
        <c:tickLblPos val="nextTo"/>
        <c:crossAx val="53807614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10822510822513E-2"/>
          <c:y val="2.1328958162428219E-2"/>
          <c:w val="0.83333333333333337"/>
          <c:h val="0.95734208367514351"/>
        </c:manualLayout>
      </c:layout>
      <c:barChart>
        <c:barDir val="bar"/>
        <c:grouping val="stacked"/>
        <c:varyColors val="0"/>
        <c:ser>
          <c:idx val="0"/>
          <c:order val="0"/>
          <c:spPr>
            <a:solidFill>
              <a:srgbClr val="C4C4CD"/>
            </a:solidFill>
            <a:ln w="9525" algn="ctr">
              <a:solidFill>
                <a:srgbClr val="747480"/>
              </a:solidFill>
              <a:prstDash val="solid"/>
            </a:ln>
          </c:spPr>
          <c:invertIfNegative val="0"/>
          <c:dPt>
            <c:idx val="3"/>
            <c:invertIfNegative val="0"/>
            <c:bubble3D val="0"/>
            <c:spPr>
              <a:solidFill>
                <a:schemeClr val="tx2"/>
              </a:solidFill>
              <a:ln w="9525" algn="ctr">
                <a:solidFill>
                  <a:srgbClr val="747480"/>
                </a:solidFill>
                <a:prstDash val="solid"/>
              </a:ln>
            </c:spPr>
            <c:extLst>
              <c:ext xmlns:c16="http://schemas.microsoft.com/office/drawing/2014/chart" uri="{C3380CC4-5D6E-409C-BE32-E72D297353CC}">
                <c16:uniqueId val="{00000000-BB6C-41EF-A3C7-3E1FB4C67486}"/>
              </c:ext>
            </c:extLst>
          </c:dPt>
          <c:dLbls>
            <c:dLbl>
              <c:idx val="0"/>
              <c:layout>
                <c:manualLayout>
                  <c:x val="8.283709990796604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B6C-41EF-A3C7-3E1FB4C67486}"/>
                </c:ext>
              </c:extLst>
            </c:dLbl>
            <c:dLbl>
              <c:idx val="1"/>
              <c:layout>
                <c:manualLayout>
                  <c:x val="7.591069298155912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B6C-41EF-A3C7-3E1FB4C67486}"/>
                </c:ext>
              </c:extLst>
            </c:dLbl>
            <c:dLbl>
              <c:idx val="2"/>
              <c:layout>
                <c:manualLayout>
                  <c:x val="0.31171149060912834"/>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B6C-41EF-A3C7-3E1FB4C67486}"/>
                </c:ext>
              </c:extLst>
            </c:dLbl>
            <c:dLbl>
              <c:idx val="3"/>
              <c:layout>
                <c:manualLayout>
                  <c:x val="0.48191348808671641"/>
                  <c:y val="1.2031580999211676E-16"/>
                </c:manualLayout>
              </c:layout>
              <c:numFmt formatCode="#,##0&quot;%&quot;" sourceLinked="0"/>
              <c:spPr>
                <a:noFill/>
                <a:ln>
                  <a:noFill/>
                </a:ln>
                <a:effectLst/>
              </c:spPr>
              <c:txPr>
                <a:bodyPr wrap="square" lIns="38100" tIns="19050" rIns="38100" bIns="19050" anchor="ctr">
                  <a:spAutoFit/>
                </a:bodyPr>
                <a:lstStyle/>
                <a:p>
                  <a:pPr>
                    <a:defRPr sz="1400" b="1">
                      <a:solidFill>
                        <a:schemeClr val="tx2"/>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6C-41EF-A3C7-3E1FB4C67486}"/>
                </c:ext>
              </c:extLst>
            </c:dLbl>
            <c:numFmt formatCode="#,##0&quot;%&quot;" sourceLinked="0"/>
            <c:spPr>
              <a:noFill/>
              <a:ln>
                <a:noFill/>
              </a:ln>
              <a:effectLst/>
            </c:spPr>
            <c:txPr>
              <a:bodyPr wrap="square" lIns="38100" tIns="19050" rIns="38100" bIns="19050" anchor="ctr">
                <a:spAutoFit/>
              </a:bodyPr>
              <a:lstStyle/>
              <a:p>
                <a:pPr>
                  <a:defRPr sz="140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D$1</c:f>
              <c:numCache>
                <c:formatCode>General</c:formatCode>
                <c:ptCount val="4"/>
                <c:pt idx="0">
                  <c:v>4</c:v>
                </c:pt>
                <c:pt idx="1">
                  <c:v>4</c:v>
                </c:pt>
                <c:pt idx="2">
                  <c:v>32</c:v>
                </c:pt>
                <c:pt idx="3">
                  <c:v>60</c:v>
                </c:pt>
              </c:numCache>
            </c:numRef>
          </c:val>
          <c:extLst>
            <c:ext xmlns:c16="http://schemas.microsoft.com/office/drawing/2014/chart" uri="{C3380CC4-5D6E-409C-BE32-E72D297353CC}">
              <c16:uniqueId val="{00000004-BB6C-41EF-A3C7-3E1FB4C67486}"/>
            </c:ext>
          </c:extLst>
        </c:ser>
        <c:dLbls>
          <c:showLegendKey val="0"/>
          <c:showVal val="0"/>
          <c:showCatName val="0"/>
          <c:showSerName val="0"/>
          <c:showPercent val="0"/>
          <c:showBubbleSize val="0"/>
        </c:dLbls>
        <c:gapWidth val="80"/>
        <c:overlap val="100"/>
        <c:axId val="325731648"/>
        <c:axId val="1"/>
      </c:barChart>
      <c:catAx>
        <c:axId val="325731648"/>
        <c:scaling>
          <c:orientation val="maxMin"/>
        </c:scaling>
        <c:delete val="0"/>
        <c:axPos val="l"/>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60"/>
          <c:min val="0"/>
        </c:scaling>
        <c:delete val="1"/>
        <c:axPos val="t"/>
        <c:numFmt formatCode="General" sourceLinked="1"/>
        <c:majorTickMark val="out"/>
        <c:minorTickMark val="none"/>
        <c:tickLblPos val="nextTo"/>
        <c:crossAx val="32573164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115606936416183E-2"/>
          <c:y val="6.0115606936416183E-2"/>
          <c:w val="0.87976878612716758"/>
          <c:h val="0.87976878612716758"/>
        </c:manualLayout>
      </c:layout>
      <c:doughnutChart>
        <c:varyColors val="0"/>
        <c:ser>
          <c:idx val="0"/>
          <c:order val="0"/>
          <c:spPr>
            <a:solidFill>
              <a:schemeClr val="tx2"/>
            </a:solidFill>
            <a:ln>
              <a:noFill/>
            </a:ln>
          </c:spPr>
          <c:dPt>
            <c:idx val="0"/>
            <c:bubble3D val="0"/>
            <c:spPr>
              <a:solidFill>
                <a:schemeClr val="tx2"/>
              </a:solidFill>
              <a:ln w="9525" algn="ctr">
                <a:noFill/>
                <a:prstDash val="solid"/>
              </a:ln>
            </c:spPr>
            <c:extLst>
              <c:ext xmlns:c16="http://schemas.microsoft.com/office/drawing/2014/chart" uri="{C3380CC4-5D6E-409C-BE32-E72D297353CC}">
                <c16:uniqueId val="{00000000-A098-41AA-83A3-D56EE561BADF}"/>
              </c:ext>
            </c:extLst>
          </c:dPt>
          <c:dPt>
            <c:idx val="1"/>
            <c:bubble3D val="0"/>
            <c:spPr>
              <a:solidFill>
                <a:srgbClr val="C4C4CD"/>
              </a:solidFill>
              <a:ln w="9525" algn="ctr">
                <a:noFill/>
                <a:prstDash val="solid"/>
              </a:ln>
            </c:spPr>
            <c:extLst>
              <c:ext xmlns:c16="http://schemas.microsoft.com/office/drawing/2014/chart" uri="{C3380CC4-5D6E-409C-BE32-E72D297353CC}">
                <c16:uniqueId val="{00000001-A098-41AA-83A3-D56EE561BADF}"/>
              </c:ext>
            </c:extLst>
          </c:dPt>
          <c:val>
            <c:numRef>
              <c:f>Sheet1!$A$1:$A$2</c:f>
              <c:numCache>
                <c:formatCode>General</c:formatCode>
                <c:ptCount val="2"/>
                <c:pt idx="0">
                  <c:v>82</c:v>
                </c:pt>
                <c:pt idx="1">
                  <c:v>18.000000000000004</c:v>
                </c:pt>
              </c:numCache>
            </c:numRef>
          </c:val>
          <c:extLst>
            <c:ext xmlns:c16="http://schemas.microsoft.com/office/drawing/2014/chart" uri="{C3380CC4-5D6E-409C-BE32-E72D297353CC}">
              <c16:uniqueId val="{00000002-A098-41AA-83A3-D56EE561BADF}"/>
            </c:ext>
          </c:extLst>
        </c:ser>
        <c:dLbls>
          <c:showLegendKey val="0"/>
          <c:showVal val="0"/>
          <c:showCatName val="0"/>
          <c:showSerName val="0"/>
          <c:showPercent val="0"/>
          <c:showBubbleSize val="0"/>
          <c:showLeaderLines val="0"/>
        </c:dLbls>
        <c:firstSliceAng val="0"/>
        <c:holeSize val="65"/>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115606936416183E-2"/>
          <c:y val="6.0115606936416183E-2"/>
          <c:w val="0.87976878612716758"/>
          <c:h val="0.87976878612716758"/>
        </c:manualLayout>
      </c:layout>
      <c:doughnutChart>
        <c:varyColors val="0"/>
        <c:ser>
          <c:idx val="0"/>
          <c:order val="0"/>
          <c:spPr>
            <a:ln>
              <a:noFill/>
            </a:ln>
          </c:spPr>
          <c:dPt>
            <c:idx val="0"/>
            <c:bubble3D val="0"/>
            <c:spPr>
              <a:solidFill>
                <a:schemeClr val="tx2"/>
              </a:solidFill>
              <a:ln w="9525" algn="ctr">
                <a:noFill/>
                <a:prstDash val="solid"/>
              </a:ln>
            </c:spPr>
            <c:extLst>
              <c:ext xmlns:c16="http://schemas.microsoft.com/office/drawing/2014/chart" uri="{C3380CC4-5D6E-409C-BE32-E72D297353CC}">
                <c16:uniqueId val="{00000000-49AF-4ADB-86B5-D06513DDDA17}"/>
              </c:ext>
            </c:extLst>
          </c:dPt>
          <c:dPt>
            <c:idx val="1"/>
            <c:bubble3D val="0"/>
            <c:spPr>
              <a:solidFill>
                <a:srgbClr val="C4C4CD"/>
              </a:solidFill>
              <a:ln w="9525" algn="ctr">
                <a:noFill/>
                <a:prstDash val="solid"/>
              </a:ln>
            </c:spPr>
            <c:extLst>
              <c:ext xmlns:c16="http://schemas.microsoft.com/office/drawing/2014/chart" uri="{C3380CC4-5D6E-409C-BE32-E72D297353CC}">
                <c16:uniqueId val="{00000001-49AF-4ADB-86B5-D06513DDDA17}"/>
              </c:ext>
            </c:extLst>
          </c:dPt>
          <c:val>
            <c:numRef>
              <c:f>Sheet1!$A$1:$A$2</c:f>
              <c:numCache>
                <c:formatCode>General</c:formatCode>
                <c:ptCount val="2"/>
                <c:pt idx="0">
                  <c:v>82</c:v>
                </c:pt>
                <c:pt idx="1">
                  <c:v>18.000000000000004</c:v>
                </c:pt>
              </c:numCache>
            </c:numRef>
          </c:val>
          <c:extLst>
            <c:ext xmlns:c16="http://schemas.microsoft.com/office/drawing/2014/chart" uri="{C3380CC4-5D6E-409C-BE32-E72D297353CC}">
              <c16:uniqueId val="{00000002-49AF-4ADB-86B5-D06513DDDA17}"/>
            </c:ext>
          </c:extLst>
        </c:ser>
        <c:dLbls>
          <c:showLegendKey val="0"/>
          <c:showVal val="0"/>
          <c:showCatName val="0"/>
          <c:showSerName val="0"/>
          <c:showPercent val="0"/>
          <c:showBubbleSize val="0"/>
          <c:showLeaderLines val="0"/>
        </c:dLbls>
        <c:firstSliceAng val="0"/>
        <c:holeSize val="65"/>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528301886792454E-2"/>
          <c:y val="2.0618556701030927E-2"/>
          <c:w val="0.84905660377358494"/>
          <c:h val="0.95876288659793818"/>
        </c:manualLayout>
      </c:layout>
      <c:barChart>
        <c:barDir val="bar"/>
        <c:grouping val="clustered"/>
        <c:varyColors val="0"/>
        <c:ser>
          <c:idx val="0"/>
          <c:order val="0"/>
          <c:spPr>
            <a:solidFill>
              <a:srgbClr val="C4C4CD"/>
            </a:solidFill>
            <a:ln w="9525" algn="ctr">
              <a:solidFill>
                <a:schemeClr val="tx1"/>
              </a:solidFill>
              <a:prstDash val="solid"/>
            </a:ln>
          </c:spPr>
          <c:invertIfNegative val="0"/>
          <c:dLbls>
            <c:dLbl>
              <c:idx val="0"/>
              <c:layout>
                <c:manualLayout>
                  <c:x val="0.40990566037735848"/>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14-4DA3-8A7E-52EBE2D75BE5}"/>
                </c:ext>
              </c:extLst>
            </c:dLbl>
            <c:dLbl>
              <c:idx val="1"/>
              <c:layout>
                <c:manualLayout>
                  <c:x val="0.39292452830188679"/>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14-4DA3-8A7E-52EBE2D75BE5}"/>
                </c:ext>
              </c:extLst>
            </c:dLbl>
            <c:dLbl>
              <c:idx val="2"/>
              <c:layout>
                <c:manualLayout>
                  <c:x val="0.4882075471698113"/>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914-4DA3-8A7E-52EBE2D75BE5}"/>
                </c:ext>
              </c:extLst>
            </c:dLbl>
            <c:dLbl>
              <c:idx val="3"/>
              <c:layout>
                <c:manualLayout>
                  <c:x val="0.42122641509433961"/>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14-4DA3-8A7E-52EBE2D75BE5}"/>
                </c:ext>
              </c:extLst>
            </c:dLbl>
            <c:dLbl>
              <c:idx val="4"/>
              <c:layout>
                <c:manualLayout>
                  <c:x val="0.43820754716981131"/>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914-4DA3-8A7E-52EBE2D75BE5}"/>
                </c:ext>
              </c:extLst>
            </c:dLbl>
            <c:dLbl>
              <c:idx val="5"/>
              <c:layout>
                <c:manualLayout>
                  <c:x val="0.44905660377358492"/>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14-4DA3-8A7E-52EBE2D75BE5}"/>
                </c:ext>
              </c:extLst>
            </c:dLbl>
            <c:spPr>
              <a:noFill/>
              <a:ln>
                <a:noFill/>
              </a:ln>
              <a:effectLst/>
            </c:spPr>
            <c:txPr>
              <a:bodyPr wrap="square" lIns="38100" tIns="19050" rIns="38100" bIns="19050" anchor="ctr">
                <a:spAutoFit/>
              </a:bodyPr>
              <a:lstStyle/>
              <a:p>
                <a:pPr>
                  <a:defRPr sz="1200" baseline="0">
                    <a:latin typeface="EYInterstate Light" panose="02000506000000020004"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62</c:v>
                </c:pt>
                <c:pt idx="1">
                  <c:v>59</c:v>
                </c:pt>
                <c:pt idx="2">
                  <c:v>76</c:v>
                </c:pt>
                <c:pt idx="3">
                  <c:v>64</c:v>
                </c:pt>
                <c:pt idx="4">
                  <c:v>67</c:v>
                </c:pt>
                <c:pt idx="5">
                  <c:v>69</c:v>
                </c:pt>
              </c:numCache>
            </c:numRef>
          </c:val>
          <c:extLst>
            <c:ext xmlns:c16="http://schemas.microsoft.com/office/drawing/2014/chart" uri="{C3380CC4-5D6E-409C-BE32-E72D297353CC}">
              <c16:uniqueId val="{00000006-0914-4DA3-8A7E-52EBE2D75BE5}"/>
            </c:ext>
          </c:extLst>
        </c:ser>
        <c:ser>
          <c:idx val="1"/>
          <c:order val="1"/>
          <c:spPr>
            <a:solidFill>
              <a:schemeClr val="tx2"/>
            </a:solidFill>
            <a:ln w="9525" algn="ctr">
              <a:solidFill>
                <a:schemeClr val="tx1"/>
              </a:solidFill>
              <a:prstDash val="solid"/>
            </a:ln>
          </c:spPr>
          <c:invertIfNegative val="0"/>
          <c:dLbls>
            <c:dLbl>
              <c:idx val="0"/>
              <c:layout>
                <c:manualLayout>
                  <c:x val="0.4882075471698113"/>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914-4DA3-8A7E-52EBE2D75BE5}"/>
                </c:ext>
              </c:extLst>
            </c:dLbl>
            <c:dLbl>
              <c:idx val="1"/>
              <c:layout>
                <c:manualLayout>
                  <c:x val="0.40990566037735848"/>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914-4DA3-8A7E-52EBE2D75BE5}"/>
                </c:ext>
              </c:extLst>
            </c:dLbl>
            <c:dLbl>
              <c:idx val="2"/>
              <c:layout>
                <c:manualLayout>
                  <c:x val="0.30377358490566037"/>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914-4DA3-8A7E-52EBE2D75BE5}"/>
                </c:ext>
              </c:extLst>
            </c:dLbl>
            <c:dLbl>
              <c:idx val="3"/>
              <c:layout>
                <c:manualLayout>
                  <c:x val="0.33207547169811319"/>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914-4DA3-8A7E-52EBE2D75BE5}"/>
                </c:ext>
              </c:extLst>
            </c:dLbl>
            <c:dLbl>
              <c:idx val="4"/>
              <c:layout>
                <c:manualLayout>
                  <c:x val="0.27594339622641512"/>
                  <c:y val="1.1895321173671688E-3"/>
                </c:manualLayout>
              </c:layout>
              <c:numFmt formatCode="#,##0&quot;%&quot;;&quot;-&quot;#,##0&quot;%&quot;" sourceLinked="0"/>
              <c:spPr>
                <a:noFill/>
                <a:ln>
                  <a:noFill/>
                </a:ln>
              </c:spPr>
              <c:txPr>
                <a:bodyPr wrap="none"/>
                <a:lstStyle/>
                <a:p>
                  <a:pPr>
                    <a:defRPr sz="1200"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914-4DA3-8A7E-52EBE2D75BE5}"/>
                </c:ext>
              </c:extLst>
            </c:dLbl>
            <c:spPr>
              <a:noFill/>
              <a:ln>
                <a:noFill/>
              </a:ln>
              <a:effectLst/>
            </c:spPr>
            <c:txPr>
              <a:bodyPr wrap="square" lIns="38100" tIns="19050" rIns="38100" bIns="19050" anchor="ctr">
                <a:spAutoFit/>
              </a:bodyPr>
              <a:lstStyle/>
              <a:p>
                <a:pPr>
                  <a:defRPr sz="1200" baseline="0">
                    <a:latin typeface="EYInterstate Light" panose="02000506000000020004"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0"%";"-"#,##0"%"</c:formatCode>
                <c:ptCount val="6"/>
                <c:pt idx="0">
                  <c:v>76</c:v>
                </c:pt>
                <c:pt idx="1">
                  <c:v>62</c:v>
                </c:pt>
                <c:pt idx="2">
                  <c:v>43</c:v>
                </c:pt>
                <c:pt idx="3">
                  <c:v>48</c:v>
                </c:pt>
                <c:pt idx="4">
                  <c:v>38</c:v>
                </c:pt>
              </c:numCache>
            </c:numRef>
          </c:val>
          <c:extLst>
            <c:ext xmlns:c16="http://schemas.microsoft.com/office/drawing/2014/chart" uri="{C3380CC4-5D6E-409C-BE32-E72D297353CC}">
              <c16:uniqueId val="{0000000C-0914-4DA3-8A7E-52EBE2D75BE5}"/>
            </c:ext>
          </c:extLst>
        </c:ser>
        <c:dLbls>
          <c:showLegendKey val="0"/>
          <c:showVal val="0"/>
          <c:showCatName val="0"/>
          <c:showSerName val="0"/>
          <c:showPercent val="0"/>
          <c:showBubbleSize val="0"/>
        </c:dLbls>
        <c:gapWidth val="80"/>
        <c:axId val="654200560"/>
        <c:axId val="1"/>
      </c:barChart>
      <c:catAx>
        <c:axId val="654200560"/>
        <c:scaling>
          <c:orientation val="maxMin"/>
        </c:scaling>
        <c:delete val="0"/>
        <c:axPos val="l"/>
        <c:majorGridlines>
          <c:spPr>
            <a:ln>
              <a:noFill/>
            </a:ln>
          </c:spPr>
        </c:majorGridlines>
        <c:majorTickMark val="in"/>
        <c:minorTickMark val="none"/>
        <c:tickLblPos val="none"/>
        <c:spPr>
          <a:ln w="3175" algn="ctr">
            <a:solidFill>
              <a:schemeClr val="bg1"/>
            </a:solidFill>
            <a:prstDash val="solid"/>
          </a:ln>
        </c:spPr>
        <c:crossAx val="1"/>
        <c:crosses val="min"/>
        <c:auto val="0"/>
        <c:lblAlgn val="ctr"/>
        <c:lblOffset val="100"/>
        <c:noMultiLvlLbl val="0"/>
      </c:catAx>
      <c:valAx>
        <c:axId val="1"/>
        <c:scaling>
          <c:orientation val="minMax"/>
          <c:max val="76"/>
          <c:min val="0"/>
        </c:scaling>
        <c:delete val="1"/>
        <c:axPos val="t"/>
        <c:numFmt formatCode="#,##0&quot;%&quot;;&quot;-&quot;#,##0&quot;%&quot;" sourceLinked="1"/>
        <c:majorTickMark val="out"/>
        <c:minorTickMark val="none"/>
        <c:tickLblPos val="nextTo"/>
        <c:crossAx val="654200560"/>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57782197911485E-2"/>
          <c:y val="1.867145421903052E-2"/>
          <c:w val="0.81056385378507467"/>
          <c:h val="0.9626570915619389"/>
        </c:manualLayout>
      </c:layout>
      <c:barChart>
        <c:barDir val="bar"/>
        <c:grouping val="stacked"/>
        <c:varyColors val="0"/>
        <c:ser>
          <c:idx val="0"/>
          <c:order val="0"/>
          <c:spPr>
            <a:solidFill>
              <a:srgbClr val="C4C4CD"/>
            </a:solidFill>
            <a:ln>
              <a:noFill/>
            </a:ln>
          </c:spPr>
          <c:invertIfNegative val="0"/>
          <c:dPt>
            <c:idx val="0"/>
            <c:invertIfNegative val="0"/>
            <c:bubble3D val="0"/>
            <c:spPr>
              <a:solidFill>
                <a:srgbClr val="747480"/>
              </a:solidFill>
              <a:ln>
                <a:noFill/>
              </a:ln>
            </c:spPr>
            <c:extLst>
              <c:ext xmlns:c16="http://schemas.microsoft.com/office/drawing/2014/chart" uri="{C3380CC4-5D6E-409C-BE32-E72D297353CC}">
                <c16:uniqueId val="{00000001-016F-48A2-8F93-C619D47ED146}"/>
              </c:ext>
            </c:extLst>
          </c:dPt>
          <c:dPt>
            <c:idx val="1"/>
            <c:invertIfNegative val="0"/>
            <c:bubble3D val="0"/>
            <c:extLst>
              <c:ext xmlns:c16="http://schemas.microsoft.com/office/drawing/2014/chart" uri="{C3380CC4-5D6E-409C-BE32-E72D297353CC}">
                <c16:uniqueId val="{00000003-016F-48A2-8F93-C619D47ED146}"/>
              </c:ext>
            </c:extLst>
          </c:dPt>
          <c:dPt>
            <c:idx val="2"/>
            <c:invertIfNegative val="0"/>
            <c:bubble3D val="0"/>
            <c:extLst>
              <c:ext xmlns:c16="http://schemas.microsoft.com/office/drawing/2014/chart" uri="{C3380CC4-5D6E-409C-BE32-E72D297353CC}">
                <c16:uniqueId val="{00000005-016F-48A2-8F93-C619D47ED146}"/>
              </c:ext>
            </c:extLst>
          </c:dPt>
          <c:dPt>
            <c:idx val="3"/>
            <c:invertIfNegative val="0"/>
            <c:bubble3D val="0"/>
            <c:extLst>
              <c:ext xmlns:c16="http://schemas.microsoft.com/office/drawing/2014/chart" uri="{C3380CC4-5D6E-409C-BE32-E72D297353CC}">
                <c16:uniqueId val="{00000007-016F-48A2-8F93-C619D47ED146}"/>
              </c:ext>
            </c:extLst>
          </c:dPt>
          <c:dPt>
            <c:idx val="4"/>
            <c:invertIfNegative val="0"/>
            <c:bubble3D val="0"/>
            <c:extLst>
              <c:ext xmlns:c16="http://schemas.microsoft.com/office/drawing/2014/chart" uri="{C3380CC4-5D6E-409C-BE32-E72D297353CC}">
                <c16:uniqueId val="{00000009-016F-48A2-8F93-C619D47ED146}"/>
              </c:ext>
            </c:extLst>
          </c:dPt>
          <c:dLbls>
            <c:dLbl>
              <c:idx val="0"/>
              <c:layout>
                <c:manualLayout>
                  <c:x val="0.48731974142217804"/>
                  <c:y val="0"/>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6F-48A2-8F93-C619D47ED146}"/>
                </c:ext>
              </c:extLst>
            </c:dLbl>
            <c:dLbl>
              <c:idx val="1"/>
              <c:layout>
                <c:manualLayout>
                  <c:x val="0.33764296369965191"/>
                  <c:y val="0"/>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6F-48A2-8F93-C619D47ED146}"/>
                </c:ext>
              </c:extLst>
            </c:dLbl>
            <c:dLbl>
              <c:idx val="2"/>
              <c:layout>
                <c:manualLayout>
                  <c:x val="0.30233714569865738"/>
                  <c:y val="0"/>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16F-48A2-8F93-C619D47ED146}"/>
                </c:ext>
              </c:extLst>
            </c:dLbl>
            <c:dLbl>
              <c:idx val="3"/>
              <c:layout>
                <c:manualLayout>
                  <c:x val="0.25211337642963699"/>
                  <c:y val="0"/>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6F-48A2-8F93-C619D47ED146}"/>
                </c:ext>
              </c:extLst>
            </c:dLbl>
            <c:dLbl>
              <c:idx val="4"/>
              <c:layout>
                <c:manualLayout>
                  <c:x val="0.1879661859771258"/>
                  <c:y val="0"/>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16F-48A2-8F93-C619D47ED146}"/>
                </c:ext>
              </c:extLst>
            </c:dLbl>
            <c:spPr>
              <a:noFill/>
              <a:ln>
                <a:noFill/>
              </a:ln>
              <a:effectLst/>
            </c:spPr>
            <c:txPr>
              <a:bodyPr wrap="square" lIns="38100" tIns="19050" rIns="38100" bIns="19050" anchor="ctr">
                <a:spAutoFit/>
              </a:bodyPr>
              <a:lstStyle/>
              <a:p>
                <a:pPr>
                  <a:defRPr sz="1400" baseline="0">
                    <a:latin typeface="EYInterstate Light" panose="02000506000000020004"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9</c:v>
                </c:pt>
                <c:pt idx="1">
                  <c:v>38</c:v>
                </c:pt>
                <c:pt idx="2">
                  <c:v>33</c:v>
                </c:pt>
                <c:pt idx="3">
                  <c:v>26</c:v>
                </c:pt>
                <c:pt idx="4">
                  <c:v>17</c:v>
                </c:pt>
              </c:numCache>
            </c:numRef>
          </c:val>
          <c:extLst>
            <c:ext xmlns:c16="http://schemas.microsoft.com/office/drawing/2014/chart" uri="{C3380CC4-5D6E-409C-BE32-E72D297353CC}">
              <c16:uniqueId val="{0000000A-016F-48A2-8F93-C619D47ED146}"/>
            </c:ext>
          </c:extLst>
        </c:ser>
        <c:dLbls>
          <c:showLegendKey val="0"/>
          <c:showVal val="0"/>
          <c:showCatName val="0"/>
          <c:showSerName val="0"/>
          <c:showPercent val="0"/>
          <c:showBubbleSize val="0"/>
        </c:dLbls>
        <c:gapWidth val="80"/>
        <c:overlap val="100"/>
        <c:axId val="1583486656"/>
        <c:axId val="1"/>
      </c:barChart>
      <c:catAx>
        <c:axId val="1583486656"/>
        <c:scaling>
          <c:orientation val="maxMin"/>
        </c:scaling>
        <c:delete val="0"/>
        <c:axPos val="l"/>
        <c:majorGridlines>
          <c:spPr>
            <a:ln>
              <a:noFill/>
            </a:ln>
          </c:spPr>
        </c:majorGridlines>
        <c:majorTickMark val="in"/>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59"/>
          <c:min val="0"/>
        </c:scaling>
        <c:delete val="1"/>
        <c:axPos val="t"/>
        <c:numFmt formatCode="General" sourceLinked="1"/>
        <c:majorTickMark val="out"/>
        <c:minorTickMark val="none"/>
        <c:tickLblPos val="nextTo"/>
        <c:crossAx val="158348665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42690739662202E-2"/>
          <c:y val="6.1148396718866516E-2"/>
          <c:w val="0.90681421083284797"/>
          <c:h val="0.91946308724832215"/>
        </c:manualLayout>
      </c:layout>
      <c:barChart>
        <c:barDir val="bar"/>
        <c:grouping val="stacked"/>
        <c:varyColors val="0"/>
        <c:ser>
          <c:idx val="0"/>
          <c:order val="0"/>
          <c:spPr>
            <a:solidFill>
              <a:srgbClr val="C4C4CD"/>
            </a:solidFill>
            <a:ln w="3175" algn="ctr">
              <a:solidFill>
                <a:schemeClr val="tx1"/>
              </a:solidFill>
              <a:prstDash val="solid"/>
            </a:ln>
          </c:spPr>
          <c:invertIfNegative val="0"/>
          <c:dPt>
            <c:idx val="0"/>
            <c:invertIfNegative val="0"/>
            <c:bubble3D val="0"/>
            <c:spPr>
              <a:solidFill>
                <a:schemeClr val="tx2"/>
              </a:solidFill>
              <a:ln w="3175" algn="ctr">
                <a:solidFill>
                  <a:schemeClr val="tx1"/>
                </a:solidFill>
                <a:prstDash val="solid"/>
              </a:ln>
            </c:spPr>
            <c:extLst>
              <c:ext xmlns:c16="http://schemas.microsoft.com/office/drawing/2014/chart" uri="{C3380CC4-5D6E-409C-BE32-E72D297353CC}">
                <c16:uniqueId val="{00000001-D782-4F97-8C60-2C20B6470EB8}"/>
              </c:ext>
            </c:extLst>
          </c:dPt>
          <c:dPt>
            <c:idx val="1"/>
            <c:invertIfNegative val="0"/>
            <c:bubble3D val="0"/>
            <c:spPr>
              <a:solidFill>
                <a:schemeClr val="tx2"/>
              </a:solidFill>
              <a:ln w="3175" algn="ctr">
                <a:solidFill>
                  <a:schemeClr val="tx1"/>
                </a:solidFill>
                <a:prstDash val="solid"/>
              </a:ln>
            </c:spPr>
            <c:extLst>
              <c:ext xmlns:c16="http://schemas.microsoft.com/office/drawing/2014/chart" uri="{C3380CC4-5D6E-409C-BE32-E72D297353CC}">
                <c16:uniqueId val="{00000003-D782-4F97-8C60-2C20B6470EB8}"/>
              </c:ext>
            </c:extLst>
          </c:dPt>
          <c:dPt>
            <c:idx val="4"/>
            <c:invertIfNegative val="0"/>
            <c:bubble3D val="0"/>
            <c:extLst>
              <c:ext xmlns:c16="http://schemas.microsoft.com/office/drawing/2014/chart" uri="{C3380CC4-5D6E-409C-BE32-E72D297353CC}">
                <c16:uniqueId val="{00000004-D782-4F97-8C60-2C20B6470EB8}"/>
              </c:ext>
            </c:extLst>
          </c:dPt>
          <c:dPt>
            <c:idx val="5"/>
            <c:invertIfNegative val="0"/>
            <c:bubble3D val="0"/>
            <c:extLst>
              <c:ext xmlns:c16="http://schemas.microsoft.com/office/drawing/2014/chart" uri="{C3380CC4-5D6E-409C-BE32-E72D297353CC}">
                <c16:uniqueId val="{00000005-D782-4F97-8C60-2C20B6470EB8}"/>
              </c:ext>
            </c:extLst>
          </c:dPt>
          <c:dPt>
            <c:idx val="6"/>
            <c:invertIfNegative val="0"/>
            <c:bubble3D val="0"/>
            <c:extLst>
              <c:ext xmlns:c16="http://schemas.microsoft.com/office/drawing/2014/chart" uri="{C3380CC4-5D6E-409C-BE32-E72D297353CC}">
                <c16:uniqueId val="{00000006-D782-4F97-8C60-2C20B6470EB8}"/>
              </c:ext>
            </c:extLst>
          </c:dPt>
          <c:dPt>
            <c:idx val="7"/>
            <c:invertIfNegative val="0"/>
            <c:bubble3D val="0"/>
            <c:extLst>
              <c:ext xmlns:c16="http://schemas.microsoft.com/office/drawing/2014/chart" uri="{C3380CC4-5D6E-409C-BE32-E72D297353CC}">
                <c16:uniqueId val="{00000007-D782-4F97-8C60-2C20B6470EB8}"/>
              </c:ext>
            </c:extLst>
          </c:dPt>
          <c:dPt>
            <c:idx val="10"/>
            <c:invertIfNegative val="0"/>
            <c:bubble3D val="0"/>
            <c:extLst>
              <c:ext xmlns:c16="http://schemas.microsoft.com/office/drawing/2014/chart" uri="{C3380CC4-5D6E-409C-BE32-E72D297353CC}">
                <c16:uniqueId val="{00000008-D782-4F97-8C60-2C20B6470EB8}"/>
              </c:ext>
            </c:extLst>
          </c:dPt>
          <c:dPt>
            <c:idx val="11"/>
            <c:invertIfNegative val="0"/>
            <c:bubble3D val="0"/>
            <c:extLst>
              <c:ext xmlns:c16="http://schemas.microsoft.com/office/drawing/2014/chart" uri="{C3380CC4-5D6E-409C-BE32-E72D297353CC}">
                <c16:uniqueId val="{00000009-D782-4F97-8C60-2C20B6470EB8}"/>
              </c:ext>
            </c:extLst>
          </c:dPt>
          <c:dPt>
            <c:idx val="12"/>
            <c:invertIfNegative val="0"/>
            <c:bubble3D val="0"/>
            <c:extLst>
              <c:ext xmlns:c16="http://schemas.microsoft.com/office/drawing/2014/chart" uri="{C3380CC4-5D6E-409C-BE32-E72D297353CC}">
                <c16:uniqueId val="{0000000A-D782-4F97-8C60-2C20B6470EB8}"/>
              </c:ext>
            </c:extLst>
          </c:dPt>
          <c:dPt>
            <c:idx val="13"/>
            <c:invertIfNegative val="0"/>
            <c:bubble3D val="0"/>
            <c:extLst>
              <c:ext xmlns:c16="http://schemas.microsoft.com/office/drawing/2014/chart" uri="{C3380CC4-5D6E-409C-BE32-E72D297353CC}">
                <c16:uniqueId val="{0000000B-D782-4F97-8C60-2C20B6470EB8}"/>
              </c:ext>
            </c:extLst>
          </c:dPt>
          <c:dLbls>
            <c:dLbl>
              <c:idx val="0"/>
              <c:layout>
                <c:manualLayout>
                  <c:x val="0.31333721607454856"/>
                  <c:y val="2.3486997011621412E-7"/>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82-4F97-8C60-2C20B6470EB8}"/>
                </c:ext>
              </c:extLst>
            </c:dLbl>
            <c:dLbl>
              <c:idx val="1"/>
              <c:layout>
                <c:manualLayout>
                  <c:x val="0.48456610366919045"/>
                  <c:y val="2.3486997012646753E-7"/>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782-4F97-8C60-2C20B6470EB8}"/>
                </c:ext>
              </c:extLst>
            </c:dLbl>
            <c:dLbl>
              <c:idx val="4"/>
              <c:layout>
                <c:manualLayout>
                  <c:x val="0.25276645311589985"/>
                  <c:y val="0"/>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782-4F97-8C60-2C20B6470EB8}"/>
                </c:ext>
              </c:extLst>
            </c:dLbl>
            <c:dLbl>
              <c:idx val="5"/>
              <c:layout>
                <c:manualLayout>
                  <c:x val="0.22451951077460688"/>
                  <c:y val="0"/>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782-4F97-8C60-2C20B6470EB8}"/>
                </c:ext>
              </c:extLst>
            </c:dLbl>
            <c:dLbl>
              <c:idx val="6"/>
              <c:layout>
                <c:manualLayout>
                  <c:x val="0.26499708794408855"/>
                  <c:y val="0"/>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782-4F97-8C60-2C20B6470EB8}"/>
                </c:ext>
              </c:extLst>
            </c:dLbl>
            <c:dLbl>
              <c:idx val="7"/>
              <c:layout>
                <c:manualLayout>
                  <c:x val="0.20792079207920791"/>
                  <c:y val="0"/>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782-4F97-8C60-2C20B6470EB8}"/>
                </c:ext>
              </c:extLst>
            </c:dLbl>
            <c:dLbl>
              <c:idx val="10"/>
              <c:layout>
                <c:manualLayout>
                  <c:x val="0.23005241700640652"/>
                  <c:y val="2.3486997011279632E-7"/>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782-4F97-8C60-2C20B6470EB8}"/>
                </c:ext>
              </c:extLst>
            </c:dLbl>
            <c:dLbl>
              <c:idx val="11"/>
              <c:layout>
                <c:manualLayout>
                  <c:x val="0.27926625362860508"/>
                  <c:y val="2.3486997022216616E-7"/>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782-4F97-8C60-2C20B6470EB8}"/>
                </c:ext>
              </c:extLst>
            </c:dLbl>
            <c:dLbl>
              <c:idx val="12"/>
              <c:layout>
                <c:manualLayout>
                  <c:x val="0.1860804644614531"/>
                  <c:y val="2.3486997022216616E-7"/>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782-4F97-8C60-2C20B6470EB8}"/>
                </c:ext>
              </c:extLst>
            </c:dLbl>
            <c:dLbl>
              <c:idx val="13"/>
              <c:layout>
                <c:manualLayout>
                  <c:x val="0.1779267079093273"/>
                  <c:y val="2.3486997022216616E-7"/>
                </c:manualLayout>
              </c:layout>
              <c:numFmt formatCode="#,##0&quot;%&quot;;&quot;-&quot;#,##0&quot;%&quot;" sourceLinked="0"/>
              <c:spPr>
                <a:noFill/>
                <a:ln>
                  <a:noFill/>
                </a:ln>
              </c:spPr>
              <c:txPr>
                <a:bodyPr wrap="none"/>
                <a:lstStyle/>
                <a:p>
                  <a:pPr>
                    <a:defRPr sz="14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782-4F97-8C60-2C20B6470EB8}"/>
                </c:ext>
              </c:extLst>
            </c:dLbl>
            <c:spPr>
              <a:noFill/>
              <a:ln>
                <a:noFill/>
              </a:ln>
              <a:effectLst/>
            </c:spPr>
            <c:txPr>
              <a:bodyPr wrap="square" lIns="38100" tIns="19050" rIns="38100" bIns="19050" anchor="ctr">
                <a:spAutoFit/>
              </a:bodyPr>
              <a:lstStyle/>
              <a:p>
                <a:pPr>
                  <a:defRPr sz="1400" baseline="0">
                    <a:latin typeface="EYInterstate Light" panose="02000506000000020004"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0"%";"-"#,##0"%"</c:formatCode>
                <c:ptCount val="14"/>
                <c:pt idx="0">
                  <c:v>51</c:v>
                </c:pt>
                <c:pt idx="1">
                  <c:v>84</c:v>
                </c:pt>
                <c:pt idx="4">
                  <c:v>34</c:v>
                </c:pt>
                <c:pt idx="5" formatCode="General">
                  <c:v>36</c:v>
                </c:pt>
                <c:pt idx="6">
                  <c:v>42</c:v>
                </c:pt>
                <c:pt idx="7">
                  <c:v>28</c:v>
                </c:pt>
                <c:pt idx="10">
                  <c:v>35</c:v>
                </c:pt>
                <c:pt idx="11">
                  <c:v>45</c:v>
                </c:pt>
                <c:pt idx="12">
                  <c:v>27</c:v>
                </c:pt>
                <c:pt idx="13">
                  <c:v>25</c:v>
                </c:pt>
              </c:numCache>
            </c:numRef>
          </c:val>
          <c:extLst>
            <c:ext xmlns:c16="http://schemas.microsoft.com/office/drawing/2014/chart" uri="{C3380CC4-5D6E-409C-BE32-E72D297353CC}">
              <c16:uniqueId val="{0000000C-D782-4F97-8C60-2C20B6470EB8}"/>
            </c:ext>
          </c:extLst>
        </c:ser>
        <c:dLbls>
          <c:showLegendKey val="0"/>
          <c:showVal val="0"/>
          <c:showCatName val="0"/>
          <c:showSerName val="0"/>
          <c:showPercent val="0"/>
          <c:showBubbleSize val="0"/>
        </c:dLbls>
        <c:gapWidth val="25"/>
        <c:overlap val="100"/>
        <c:axId val="855402992"/>
        <c:axId val="1"/>
      </c:barChart>
      <c:catAx>
        <c:axId val="85540299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5.769230769229992"/>
          <c:min val="0"/>
        </c:scaling>
        <c:delete val="1"/>
        <c:axPos val="t"/>
        <c:numFmt formatCode="#,##0&quot;%&quot;;&quot;-&quot;#,##0&quot;%&quot;" sourceLinked="1"/>
        <c:majorTickMark val="out"/>
        <c:minorTickMark val="none"/>
        <c:tickLblPos val="nextTo"/>
        <c:crossAx val="85540299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26966292134834E-2"/>
          <c:y val="5.8426966292134834E-2"/>
          <c:w val="0.88314606741573032"/>
          <c:h val="0.88314606741573032"/>
        </c:manualLayout>
      </c:layout>
      <c:doughnutChart>
        <c:varyColors val="0"/>
        <c:ser>
          <c:idx val="0"/>
          <c:order val="0"/>
          <c:spPr>
            <a:ln>
              <a:noFill/>
            </a:ln>
          </c:spPr>
          <c:dPt>
            <c:idx val="0"/>
            <c:bubble3D val="0"/>
            <c:spPr>
              <a:solidFill>
                <a:schemeClr val="tx2"/>
              </a:solidFill>
              <a:ln w="9525" algn="ctr">
                <a:noFill/>
                <a:prstDash val="solid"/>
              </a:ln>
            </c:spPr>
            <c:extLst>
              <c:ext xmlns:c16="http://schemas.microsoft.com/office/drawing/2014/chart" uri="{C3380CC4-5D6E-409C-BE32-E72D297353CC}">
                <c16:uniqueId val="{00000000-27D0-49C6-A920-EA21DE4719EF}"/>
              </c:ext>
            </c:extLst>
          </c:dPt>
          <c:dPt>
            <c:idx val="1"/>
            <c:bubble3D val="0"/>
            <c:spPr>
              <a:solidFill>
                <a:srgbClr val="C4C4CD"/>
              </a:solidFill>
              <a:ln w="9525" algn="ctr">
                <a:noFill/>
                <a:prstDash val="solid"/>
              </a:ln>
            </c:spPr>
            <c:extLst>
              <c:ext xmlns:c16="http://schemas.microsoft.com/office/drawing/2014/chart" uri="{C3380CC4-5D6E-409C-BE32-E72D297353CC}">
                <c16:uniqueId val="{00000001-27D0-49C6-A920-EA21DE4719EF}"/>
              </c:ext>
            </c:extLst>
          </c:dPt>
          <c:val>
            <c:numRef>
              <c:f>Sheet1!$A$1:$A$2</c:f>
              <c:numCache>
                <c:formatCode>General</c:formatCode>
                <c:ptCount val="2"/>
                <c:pt idx="0">
                  <c:v>63</c:v>
                </c:pt>
                <c:pt idx="1">
                  <c:v>37</c:v>
                </c:pt>
              </c:numCache>
            </c:numRef>
          </c:val>
          <c:extLst>
            <c:ext xmlns:c16="http://schemas.microsoft.com/office/drawing/2014/chart" uri="{C3380CC4-5D6E-409C-BE32-E72D297353CC}">
              <c16:uniqueId val="{00000002-27D0-49C6-A920-EA21DE4719EF}"/>
            </c:ext>
          </c:extLst>
        </c:ser>
        <c:dLbls>
          <c:showLegendKey val="0"/>
          <c:showVal val="0"/>
          <c:showCatName val="0"/>
          <c:showSerName val="0"/>
          <c:showPercent val="0"/>
          <c:showBubbleSize val="0"/>
          <c:showLeaderLines val="0"/>
        </c:dLbls>
        <c:firstSliceAng val="0"/>
        <c:holeSize val="6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700080192461908E-2"/>
          <c:y val="4.1700080192461908E-2"/>
          <c:w val="0.91659983961507618"/>
          <c:h val="0.91659983961507618"/>
        </c:manualLayout>
      </c:layout>
      <c:doughnutChart>
        <c:varyColors val="0"/>
        <c:ser>
          <c:idx val="0"/>
          <c:order val="0"/>
          <c:spPr>
            <a:ln>
              <a:noFill/>
            </a:ln>
          </c:spPr>
          <c:dPt>
            <c:idx val="0"/>
            <c:bubble3D val="0"/>
            <c:spPr>
              <a:solidFill>
                <a:schemeClr val="tx2"/>
              </a:solidFill>
              <a:ln>
                <a:noFill/>
              </a:ln>
            </c:spPr>
            <c:extLst>
              <c:ext xmlns:c16="http://schemas.microsoft.com/office/drawing/2014/chart" uri="{C3380CC4-5D6E-409C-BE32-E72D297353CC}">
                <c16:uniqueId val="{00000000-1997-434E-8D3A-E2EA46EAE9D7}"/>
              </c:ext>
            </c:extLst>
          </c:dPt>
          <c:dPt>
            <c:idx val="1"/>
            <c:bubble3D val="0"/>
            <c:spPr>
              <a:solidFill>
                <a:srgbClr val="C4C4CD"/>
              </a:solidFill>
              <a:ln>
                <a:noFill/>
              </a:ln>
            </c:spPr>
            <c:extLst>
              <c:ext xmlns:c16="http://schemas.microsoft.com/office/drawing/2014/chart" uri="{C3380CC4-5D6E-409C-BE32-E72D297353CC}">
                <c16:uniqueId val="{00000001-1997-434E-8D3A-E2EA46EAE9D7}"/>
              </c:ext>
            </c:extLst>
          </c:dPt>
          <c:dPt>
            <c:idx val="2"/>
            <c:bubble3D val="0"/>
            <c:spPr>
              <a:solidFill>
                <a:srgbClr val="747480"/>
              </a:solidFill>
              <a:ln>
                <a:noFill/>
              </a:ln>
            </c:spPr>
            <c:extLst>
              <c:ext xmlns:c16="http://schemas.microsoft.com/office/drawing/2014/chart" uri="{C3380CC4-5D6E-409C-BE32-E72D297353CC}">
                <c16:uniqueId val="{00000002-1997-434E-8D3A-E2EA46EAE9D7}"/>
              </c:ext>
            </c:extLst>
          </c:dPt>
          <c:val>
            <c:numRef>
              <c:f>Sheet1!$A$1:$A$3</c:f>
              <c:numCache>
                <c:formatCode>General</c:formatCode>
                <c:ptCount val="3"/>
                <c:pt idx="0">
                  <c:v>6</c:v>
                </c:pt>
                <c:pt idx="1">
                  <c:v>48</c:v>
                </c:pt>
                <c:pt idx="2">
                  <c:v>46</c:v>
                </c:pt>
              </c:numCache>
            </c:numRef>
          </c:val>
          <c:extLst>
            <c:ext xmlns:c16="http://schemas.microsoft.com/office/drawing/2014/chart" uri="{C3380CC4-5D6E-409C-BE32-E72D297353CC}">
              <c16:uniqueId val="{00000003-1997-434E-8D3A-E2EA46EAE9D7}"/>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28/08/2023</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28/08/2023</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 report by Goldman Sachs suggests 1/4th of work tasks could be automated by AI in the US and Europe — with legal being one of the most impacted sectors</a:t>
            </a:r>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771391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12941892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2.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2444060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78515" cy="590400"/>
          </a:xfrm>
        </p:spPr>
        <p:txBody>
          <a:bodyPr anchor="ctr" anchorCtr="0"/>
          <a:lstStyle>
            <a:lvl1pPr>
              <a:defRPr sz="2398">
                <a:solidFill>
                  <a:schemeClr val="bg1"/>
                </a:solidFill>
              </a:defRPr>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13C1BCFE-206D-17C1-CB10-F6C78D11E3E5}"/>
              </a:ext>
            </a:extLst>
          </p:cNvPr>
          <p:cNvSpPr>
            <a:spLocks noGrp="1"/>
          </p:cNvSpPr>
          <p:nvPr>
            <p:ph type="body" sz="quarter" idx="11"/>
          </p:nvPr>
        </p:nvSpPr>
        <p:spPr>
          <a:xfrm>
            <a:off x="609920" y="1189037"/>
            <a:ext cx="10981944" cy="4919472"/>
          </a:xfrm>
          <a:prstGeom prst="rect">
            <a:avLst/>
          </a:prstGeom>
        </p:spPr>
        <p:txBody>
          <a:bodyPr lIns="0" rIns="0"/>
          <a:lstStyle>
            <a:lvl1pPr marL="274320" indent="-274320" algn="l" defTabSz="913486" rtl="0" eaLnBrk="1" latinLnBrk="0" hangingPunct="1">
              <a:spcBef>
                <a:spcPts val="0"/>
              </a:spcBef>
              <a:spcAft>
                <a:spcPts val="600"/>
              </a:spcAft>
              <a:buClr>
                <a:schemeClr val="tx2"/>
              </a:buClr>
              <a:buSzPct val="100000"/>
              <a:buFont typeface="EYInterstate" panose="02000503020000020004" pitchFamily="2" charset="0"/>
              <a:buChar char="•"/>
              <a:defRPr lang="en-US" sz="1998" kern="1200" dirty="0" smtClean="0">
                <a:solidFill>
                  <a:schemeClr val="bg1"/>
                </a:solidFill>
                <a:latin typeface="EYInterstate Light" panose="02000506000000020004" pitchFamily="2" charset="0"/>
                <a:ea typeface="+mn-ea"/>
                <a:cs typeface="+mn-cs"/>
              </a:defRPr>
            </a:lvl1pPr>
            <a:lvl2pPr marL="548640" indent="-274320" algn="l" defTabSz="913486" rtl="0" eaLnBrk="1" latinLnBrk="0" hangingPunct="1">
              <a:spcBef>
                <a:spcPts val="0"/>
              </a:spcBef>
              <a:spcAft>
                <a:spcPts val="600"/>
              </a:spcAft>
              <a:buClr>
                <a:schemeClr val="tx2"/>
              </a:buClr>
              <a:buSzPct val="100000"/>
              <a:buFont typeface="EYInterstate" panose="02000503020000020004" pitchFamily="2" charset="0"/>
              <a:buChar char="•"/>
              <a:defRPr lang="en-US" sz="1800" kern="1200" dirty="0" smtClean="0">
                <a:solidFill>
                  <a:schemeClr val="bg1"/>
                </a:solidFill>
                <a:latin typeface="EYInterstate Light" panose="02000506000000020004" pitchFamily="2" charset="0"/>
                <a:ea typeface="+mn-ea"/>
                <a:cs typeface="+mn-cs"/>
              </a:defRPr>
            </a:lvl2pPr>
            <a:lvl3pPr marL="822960" indent="-274320" algn="l" defTabSz="913486" rtl="0" eaLnBrk="1" latinLnBrk="0" hangingPunct="1">
              <a:spcBef>
                <a:spcPts val="0"/>
              </a:spcBef>
              <a:spcAft>
                <a:spcPts val="600"/>
              </a:spcAft>
              <a:buClr>
                <a:schemeClr val="tx2"/>
              </a:buClr>
              <a:buSzPct val="100000"/>
              <a:buFont typeface="EYInterstate" panose="02000503020000020004" pitchFamily="2" charset="0"/>
              <a:buChar char="•"/>
              <a:defRPr lang="en-US" sz="1600" kern="1200" dirty="0" smtClean="0">
                <a:solidFill>
                  <a:schemeClr val="bg1"/>
                </a:solidFill>
                <a:latin typeface="EYInterstate Light" panose="02000506000000020004" pitchFamily="2" charset="0"/>
                <a:ea typeface="+mn-ea"/>
                <a:cs typeface="+mn-cs"/>
              </a:defRPr>
            </a:lvl3pPr>
            <a:lvl4pPr marL="1097280" indent="-274320" algn="l" defTabSz="913486" rtl="0" eaLnBrk="1" latinLnBrk="0" hangingPunct="1">
              <a:spcBef>
                <a:spcPts val="0"/>
              </a:spcBef>
              <a:spcAft>
                <a:spcPts val="600"/>
              </a:spcAft>
              <a:buClr>
                <a:schemeClr val="tx2"/>
              </a:buClr>
              <a:buSzPct val="100000"/>
              <a:buFont typeface="EYInterstate" panose="02000503020000020004" pitchFamily="2" charset="0"/>
              <a:buChar char="•"/>
              <a:defRPr lang="en-US" sz="1400" kern="1200" dirty="0" smtClean="0">
                <a:solidFill>
                  <a:schemeClr val="bg1"/>
                </a:solidFill>
                <a:latin typeface="EYInterstate Light" panose="02000506000000020004" pitchFamily="2" charset="0"/>
                <a:ea typeface="+mn-ea"/>
                <a:cs typeface="+mn-cs"/>
              </a:defRPr>
            </a:lvl4pPr>
            <a:lvl5pPr marL="1371600" indent="-274320" algn="l" defTabSz="913486" rtl="0" eaLnBrk="1" latinLnBrk="0" hangingPunct="1">
              <a:spcBef>
                <a:spcPts val="0"/>
              </a:spcBef>
              <a:spcAft>
                <a:spcPts val="600"/>
              </a:spcAft>
              <a:buClr>
                <a:schemeClr val="tx2"/>
              </a:buClr>
              <a:buSzPct val="100000"/>
              <a:buFont typeface="EYInterstate" panose="02000503020000020004" pitchFamily="2" charset="0"/>
              <a:buChar char="•"/>
              <a:defRPr lang="en-IN" sz="1200" kern="1200" dirty="0">
                <a:solidFill>
                  <a:schemeClr val="bg1"/>
                </a:solidFill>
                <a:latin typeface="EYInterstate Light" panose="02000506000000020004" pitchFamily="2"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373548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82244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Tree>
    <p:extLst>
      <p:ext uri="{BB962C8B-B14F-4D97-AF65-F5344CB8AC3E}">
        <p14:creationId xmlns:p14="http://schemas.microsoft.com/office/powerpoint/2010/main" val="13712940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e with bar">
    <p:spTree>
      <p:nvGrpSpPr>
        <p:cNvPr id="1" name=""/>
        <p:cNvGrpSpPr/>
        <p:nvPr/>
      </p:nvGrpSpPr>
      <p:grpSpPr>
        <a:xfrm>
          <a:off x="0" y="0"/>
          <a:ext cx="0" cy="0"/>
          <a:chOff x="0" y="0"/>
          <a:chExt cx="0" cy="0"/>
        </a:xfrm>
      </p:grpSpPr>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grpSp>
        <p:nvGrpSpPr>
          <p:cNvPr id="4" name="Group 4">
            <a:extLst>
              <a:ext uri="{FF2B5EF4-FFF2-40B4-BE49-F238E27FC236}">
                <a16:creationId xmlns:a16="http://schemas.microsoft.com/office/drawing/2014/main" id="{B0FF671C-6C00-4CEE-B3A1-3FE1ED75DAF4}"/>
              </a:ext>
            </a:extLst>
          </p:cNvPr>
          <p:cNvGrpSpPr>
            <a:grpSpLocks noChangeAspect="1"/>
          </p:cNvGrpSpPr>
          <p:nvPr userDrawn="1"/>
        </p:nvGrpSpPr>
        <p:grpSpPr bwMode="auto">
          <a:xfrm>
            <a:off x="11287126" y="6356350"/>
            <a:ext cx="303213" cy="311150"/>
            <a:chOff x="7110" y="4004"/>
            <a:chExt cx="191" cy="196"/>
          </a:xfrm>
        </p:grpSpPr>
        <p:sp>
          <p:nvSpPr>
            <p:cNvPr id="5" name="Freeform 5">
              <a:extLst>
                <a:ext uri="{FF2B5EF4-FFF2-40B4-BE49-F238E27FC236}">
                  <a16:creationId xmlns:a16="http://schemas.microsoft.com/office/drawing/2014/main" id="{4696679D-336C-41A9-9B10-47E1AFDA104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6" name="Freeform 6">
              <a:extLst>
                <a:ext uri="{FF2B5EF4-FFF2-40B4-BE49-F238E27FC236}">
                  <a16:creationId xmlns:a16="http://schemas.microsoft.com/office/drawing/2014/main" id="{B0C74E14-FD5E-49DA-B496-8C7745EFFF6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 name="Freeform 7">
              <a:extLst>
                <a:ext uri="{FF2B5EF4-FFF2-40B4-BE49-F238E27FC236}">
                  <a16:creationId xmlns:a16="http://schemas.microsoft.com/office/drawing/2014/main" id="{43D5A07A-E97A-45C9-AE0E-FCBFE8817A6D}"/>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8" name="Slide Number Placeholder 4">
            <a:extLst>
              <a:ext uri="{FF2B5EF4-FFF2-40B4-BE49-F238E27FC236}">
                <a16:creationId xmlns:a16="http://schemas.microsoft.com/office/drawing/2014/main" id="{B2833F19-116E-442F-8BC0-3AC5FF7C24E6}"/>
              </a:ext>
            </a:extLst>
          </p:cNvPr>
          <p:cNvSpPr txBox="1">
            <a:spLocks/>
          </p:cNvSpPr>
          <p:nvPr userDrawn="1"/>
        </p:nvSpPr>
        <p:spPr>
          <a:xfrm>
            <a:off x="609601"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
        <p:nvSpPr>
          <p:cNvPr id="3" name="Title 2">
            <a:extLst>
              <a:ext uri="{FF2B5EF4-FFF2-40B4-BE49-F238E27FC236}">
                <a16:creationId xmlns:a16="http://schemas.microsoft.com/office/drawing/2014/main" id="{F3BD0DB6-53F5-4CDC-902E-DA8E4ED5D962}"/>
              </a:ext>
            </a:extLst>
          </p:cNvPr>
          <p:cNvSpPr>
            <a:spLocks noGrp="1"/>
          </p:cNvSpPr>
          <p:nvPr>
            <p:ph type="title"/>
          </p:nvPr>
        </p:nvSpPr>
        <p:spPr>
          <a:xfrm>
            <a:off x="609919" y="294200"/>
            <a:ext cx="10978515" cy="590880"/>
          </a:xfrm>
        </p:spPr>
        <p:txBody>
          <a:bodyPr/>
          <a:lstStyle/>
          <a:p>
            <a:r>
              <a:rPr lang="en-US"/>
              <a:t>Click to edit Master title style</a:t>
            </a:r>
            <a:endParaRPr lang="en-IN"/>
          </a:p>
        </p:txBody>
      </p:sp>
      <p:sp>
        <p:nvSpPr>
          <p:cNvPr id="11" name="Text Placeholder 6">
            <a:extLst>
              <a:ext uri="{FF2B5EF4-FFF2-40B4-BE49-F238E27FC236}">
                <a16:creationId xmlns:a16="http://schemas.microsoft.com/office/drawing/2014/main" id="{6EC267FE-3ADB-4852-A353-ECDA399A5925}"/>
              </a:ext>
            </a:extLst>
          </p:cNvPr>
          <p:cNvSpPr txBox="1">
            <a:spLocks/>
          </p:cNvSpPr>
          <p:nvPr userDrawn="1"/>
        </p:nvSpPr>
        <p:spPr>
          <a:xfrm>
            <a:off x="609919" y="1135064"/>
            <a:ext cx="374226" cy="414327"/>
          </a:xfrm>
          <a:prstGeom prst="rect">
            <a:avLst/>
          </a:prstGeom>
          <a:solidFill>
            <a:srgbClr val="F6F6FA"/>
          </a:solidFill>
        </p:spPr>
        <p:txBody>
          <a:bodyPr wrap="square" lIns="68508" tIns="0" rIns="68508" bIns="0" anchor="ctr">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646464"/>
              </a:buClr>
              <a:buSzPct val="100000"/>
              <a:buNone/>
            </a:pPr>
            <a:r>
              <a:rPr lang="en-US" sz="1999" b="0" dirty="0">
                <a:solidFill>
                  <a:srgbClr val="2E2E38"/>
                </a:solidFill>
                <a:latin typeface="EYInterstate Regular" panose="02000503020000020004" pitchFamily="2" charset="0"/>
              </a:rPr>
              <a:t>Q</a:t>
            </a:r>
            <a:endParaRPr lang="en-GB" sz="1999" b="0" dirty="0">
              <a:solidFill>
                <a:srgbClr val="2E2E38"/>
              </a:solidFill>
              <a:latin typeface="EYInterstate Regular" panose="02000503020000020004" pitchFamily="2" charset="0"/>
            </a:endParaRPr>
          </a:p>
        </p:txBody>
      </p:sp>
      <p:sp>
        <p:nvSpPr>
          <p:cNvPr id="12" name="Content Placeholder 9">
            <a:extLst>
              <a:ext uri="{FF2B5EF4-FFF2-40B4-BE49-F238E27FC236}">
                <a16:creationId xmlns:a16="http://schemas.microsoft.com/office/drawing/2014/main" id="{947670B0-0D92-4628-A720-D24894DDC19B}"/>
              </a:ext>
            </a:extLst>
          </p:cNvPr>
          <p:cNvSpPr>
            <a:spLocks noGrp="1"/>
          </p:cNvSpPr>
          <p:nvPr>
            <p:ph sz="quarter" idx="10"/>
          </p:nvPr>
        </p:nvSpPr>
        <p:spPr>
          <a:xfrm>
            <a:off x="1125538" y="1135065"/>
            <a:ext cx="10464800" cy="414337"/>
          </a:xfrm>
          <a:prstGeom prst="rect">
            <a:avLst/>
          </a:prstGeom>
        </p:spPr>
        <p:txBody>
          <a:bodyPr anchor="ctr" anchorCtr="0"/>
          <a:lstStyle>
            <a:lvl1pPr marL="0" indent="0">
              <a:buNone/>
              <a:defRPr sz="1599"/>
            </a:lvl1pPr>
          </a:lstStyle>
          <a:p>
            <a:pPr lvl="0"/>
            <a:endParaRPr lang="en-IN"/>
          </a:p>
        </p:txBody>
      </p:sp>
      <p:sp>
        <p:nvSpPr>
          <p:cNvPr id="13" name="Content Placeholder 11">
            <a:extLst>
              <a:ext uri="{FF2B5EF4-FFF2-40B4-BE49-F238E27FC236}">
                <a16:creationId xmlns:a16="http://schemas.microsoft.com/office/drawing/2014/main" id="{51491D43-9ABF-4452-80D4-0D0ADEC12F04}"/>
              </a:ext>
            </a:extLst>
          </p:cNvPr>
          <p:cNvSpPr>
            <a:spLocks noGrp="1"/>
          </p:cNvSpPr>
          <p:nvPr>
            <p:ph sz="quarter" idx="11" hasCustomPrompt="1"/>
          </p:nvPr>
        </p:nvSpPr>
        <p:spPr>
          <a:xfrm>
            <a:off x="609918" y="5039861"/>
            <a:ext cx="10985182" cy="1069374"/>
          </a:xfrm>
        </p:spPr>
        <p:txBody>
          <a:bodyPr/>
          <a:lstStyle>
            <a:lvl1pPr marL="0" indent="0">
              <a:buNone/>
              <a:defRPr sz="1399"/>
            </a:lvl1pPr>
          </a:lstStyle>
          <a:p>
            <a:pPr lvl="0"/>
            <a:r>
              <a:rPr lang="en-IN"/>
              <a:t>Click to add text</a:t>
            </a:r>
          </a:p>
        </p:txBody>
      </p:sp>
      <p:sp>
        <p:nvSpPr>
          <p:cNvPr id="14" name="Content Placeholder 11">
            <a:extLst>
              <a:ext uri="{FF2B5EF4-FFF2-40B4-BE49-F238E27FC236}">
                <a16:creationId xmlns:a16="http://schemas.microsoft.com/office/drawing/2014/main" id="{2FFEA738-3893-409E-9DA3-5CB0FFCC93FF}"/>
              </a:ext>
            </a:extLst>
          </p:cNvPr>
          <p:cNvSpPr>
            <a:spLocks noGrp="1"/>
          </p:cNvSpPr>
          <p:nvPr>
            <p:ph sz="quarter" idx="12" hasCustomPrompt="1"/>
          </p:nvPr>
        </p:nvSpPr>
        <p:spPr>
          <a:xfrm>
            <a:off x="1125539" y="1818141"/>
            <a:ext cx="4307699" cy="2580073"/>
          </a:xfrm>
        </p:spPr>
        <p:txBody>
          <a:bodyPr/>
          <a:lstStyle>
            <a:lvl1pPr marL="0" indent="0">
              <a:buNone/>
              <a:defRPr sz="1599"/>
            </a:lvl1pPr>
          </a:lstStyle>
          <a:p>
            <a:pPr lvl="0"/>
            <a:r>
              <a:rPr lang="en-IN"/>
              <a:t>Click to add text</a:t>
            </a:r>
          </a:p>
        </p:txBody>
      </p:sp>
      <p:sp>
        <p:nvSpPr>
          <p:cNvPr id="15" name="Content Placeholder 11">
            <a:extLst>
              <a:ext uri="{FF2B5EF4-FFF2-40B4-BE49-F238E27FC236}">
                <a16:creationId xmlns:a16="http://schemas.microsoft.com/office/drawing/2014/main" id="{30FEF64A-E33B-4070-93BC-C61AF52B5283}"/>
              </a:ext>
            </a:extLst>
          </p:cNvPr>
          <p:cNvSpPr>
            <a:spLocks noGrp="1"/>
          </p:cNvSpPr>
          <p:nvPr>
            <p:ph sz="quarter" idx="13" hasCustomPrompt="1"/>
          </p:nvPr>
        </p:nvSpPr>
        <p:spPr>
          <a:xfrm>
            <a:off x="6571789" y="2030931"/>
            <a:ext cx="4007606" cy="2154488"/>
          </a:xfrm>
        </p:spPr>
        <p:txBody>
          <a:bodyPr/>
          <a:lstStyle>
            <a:lvl1pPr marL="0" indent="0">
              <a:buNone/>
              <a:defRPr sz="1599"/>
            </a:lvl1pPr>
          </a:lstStyle>
          <a:p>
            <a:pPr lvl="0"/>
            <a:r>
              <a:rPr lang="en-IN"/>
              <a:t>Click to add text</a:t>
            </a:r>
          </a:p>
        </p:txBody>
      </p:sp>
      <p:sp>
        <p:nvSpPr>
          <p:cNvPr id="20" name="Content Placeholder 11">
            <a:extLst>
              <a:ext uri="{FF2B5EF4-FFF2-40B4-BE49-F238E27FC236}">
                <a16:creationId xmlns:a16="http://schemas.microsoft.com/office/drawing/2014/main" id="{D8141369-28B2-46F8-8EF7-7359745C4A2E}"/>
              </a:ext>
            </a:extLst>
          </p:cNvPr>
          <p:cNvSpPr>
            <a:spLocks noGrp="1"/>
          </p:cNvSpPr>
          <p:nvPr>
            <p:ph sz="quarter" idx="14" hasCustomPrompt="1"/>
          </p:nvPr>
        </p:nvSpPr>
        <p:spPr>
          <a:xfrm>
            <a:off x="1125539" y="4398212"/>
            <a:ext cx="4307699" cy="320824"/>
          </a:xfrm>
        </p:spPr>
        <p:txBody>
          <a:bodyPr/>
          <a:lstStyle>
            <a:lvl1pPr marL="0" indent="0">
              <a:buNone/>
              <a:defRPr sz="1599"/>
            </a:lvl1pPr>
          </a:lstStyle>
          <a:p>
            <a:pPr lvl="0"/>
            <a:r>
              <a:rPr lang="en-IN"/>
              <a:t>Click to add text</a:t>
            </a:r>
          </a:p>
        </p:txBody>
      </p:sp>
    </p:spTree>
    <p:extLst>
      <p:ext uri="{BB962C8B-B14F-4D97-AF65-F5344CB8AC3E}">
        <p14:creationId xmlns:p14="http://schemas.microsoft.com/office/powerpoint/2010/main" val="17451297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1">
    <p:spTree>
      <p:nvGrpSpPr>
        <p:cNvPr id="1" name=""/>
        <p:cNvGrpSpPr/>
        <p:nvPr/>
      </p:nvGrpSpPr>
      <p:grpSpPr>
        <a:xfrm>
          <a:off x="0" y="0"/>
          <a:ext cx="0" cy="0"/>
          <a:chOff x="0" y="0"/>
          <a:chExt cx="0" cy="0"/>
        </a:xfrm>
      </p:grpSpPr>
      <p:pic>
        <p:nvPicPr>
          <p:cNvPr id="24" name="Picture 23" descr="A group of people doing yoga on a roof&#10;&#10;Description automatically generated">
            <a:extLst>
              <a:ext uri="{FF2B5EF4-FFF2-40B4-BE49-F238E27FC236}">
                <a16:creationId xmlns:a16="http://schemas.microsoft.com/office/drawing/2014/main" id="{8C580B9B-3DB4-4AE0-8646-0117B6CEBE7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8350" cy="6858000"/>
          </a:xfrm>
          <a:prstGeom prst="rect">
            <a:avLst/>
          </a:prstGeom>
        </p:spPr>
      </p:pic>
      <p:sp>
        <p:nvSpPr>
          <p:cNvPr id="25" name="Rectangle 24">
            <a:extLst>
              <a:ext uri="{FF2B5EF4-FFF2-40B4-BE49-F238E27FC236}">
                <a16:creationId xmlns:a16="http://schemas.microsoft.com/office/drawing/2014/main" id="{90855F3F-C715-4BC5-902A-573704B17EA1}"/>
              </a:ext>
            </a:extLst>
          </p:cNvPr>
          <p:cNvSpPr>
            <a:spLocks/>
          </p:cNvSpPr>
          <p:nvPr userDrawn="1"/>
        </p:nvSpPr>
        <p:spPr>
          <a:xfrm>
            <a:off x="0" y="5753100"/>
            <a:ext cx="12198350" cy="1104900"/>
          </a:xfrm>
          <a:prstGeom prst="rect">
            <a:avLst/>
          </a:prstGeom>
          <a:gradFill flip="none" rotWithShape="1">
            <a:gsLst>
              <a:gs pos="0">
                <a:srgbClr val="000000">
                  <a:alpha val="51000"/>
                </a:srgbClr>
              </a:gs>
              <a:gs pos="62000">
                <a:srgbClr val="000000">
                  <a:alpha val="22000"/>
                </a:srgbClr>
              </a:gs>
              <a:gs pos="100000">
                <a:srgbClr val="000000">
                  <a:alpha val="0"/>
                </a:srgb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3" name="Rectangle 2">
            <a:extLst>
              <a:ext uri="{FF2B5EF4-FFF2-40B4-BE49-F238E27FC236}">
                <a16:creationId xmlns:a16="http://schemas.microsoft.com/office/drawing/2014/main" id="{A1FAAD13-F467-4762-B0FD-6B195AC8DD0F}"/>
              </a:ext>
            </a:extLst>
          </p:cNvPr>
          <p:cNvSpPr>
            <a:spLocks/>
          </p:cNvSpPr>
          <p:nvPr userDrawn="1"/>
        </p:nvSpPr>
        <p:spPr>
          <a:xfrm>
            <a:off x="0" y="0"/>
            <a:ext cx="12198350" cy="6858000"/>
          </a:xfrm>
          <a:prstGeom prst="rect">
            <a:avLst/>
          </a:prstGeom>
          <a:gradFill flip="none" rotWithShape="1">
            <a:gsLst>
              <a:gs pos="0">
                <a:srgbClr val="000000">
                  <a:alpha val="65000"/>
                </a:srgbClr>
              </a:gs>
              <a:gs pos="78000">
                <a:srgbClr val="000000">
                  <a:alpha val="36000"/>
                </a:srgbClr>
              </a:gs>
              <a:gs pos="100000">
                <a:srgbClr val="000000">
                  <a:alpha val="0"/>
                </a:srgbClr>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grpSp>
        <p:nvGrpSpPr>
          <p:cNvPr id="14" name="Group 4">
            <a:extLst>
              <a:ext uri="{FF2B5EF4-FFF2-40B4-BE49-F238E27FC236}">
                <a16:creationId xmlns:a16="http://schemas.microsoft.com/office/drawing/2014/main" id="{30006C8A-771C-41B6-BECE-7A538E532F52}"/>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28245E2A-D754-41DC-A463-56565500A85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 name="Freeform 6">
              <a:extLst>
                <a:ext uri="{FF2B5EF4-FFF2-40B4-BE49-F238E27FC236}">
                  <a16:creationId xmlns:a16="http://schemas.microsoft.com/office/drawing/2014/main" id="{F851470D-4AFF-407C-A905-A92BBADEB49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7">
              <a:extLst>
                <a:ext uri="{FF2B5EF4-FFF2-40B4-BE49-F238E27FC236}">
                  <a16:creationId xmlns:a16="http://schemas.microsoft.com/office/drawing/2014/main" id="{A65E1897-B3A4-4E3B-A09F-459B92F78FC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8" name="Slide Number Placeholder 4">
            <a:extLst>
              <a:ext uri="{FF2B5EF4-FFF2-40B4-BE49-F238E27FC236}">
                <a16:creationId xmlns:a16="http://schemas.microsoft.com/office/drawing/2014/main" id="{F7245CDD-4D22-41B3-8D6D-86BEE214E7E4}"/>
              </a:ext>
            </a:extLst>
          </p:cNvPr>
          <p:cNvSpPr txBox="1">
            <a:spLocks/>
          </p:cNvSpPr>
          <p:nvPr userDrawn="1"/>
        </p:nvSpPr>
        <p:spPr>
          <a:xfrm>
            <a:off x="609600" y="6469360"/>
            <a:ext cx="225676" cy="230527"/>
          </a:xfrm>
          <a:prstGeom prst="ellipse">
            <a:avLst/>
          </a:prstGeom>
          <a:noFill/>
          <a:extLst>
            <a:ext uri="{909E8E84-426E-40DD-AFC4-6F175D3DCCD1}">
              <a14:hiddenFill xmlns:a14="http://schemas.microsoft.com/office/drawing/2010/main">
                <a:solidFill>
                  <a:srgbClr val="747480"/>
                </a:solidFill>
              </a14:hiddenFill>
            </a:ext>
          </a:extLst>
        </p:spPr>
        <p:txBody>
          <a:bodyPr wrap="none" lIns="0" rIns="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800" smtClean="0"/>
              <a:pPr lvl="0" algn="ctr"/>
              <a:t>‹#›</a:t>
            </a:fld>
            <a:endParaRPr sz="800" dirty="0"/>
          </a:p>
        </p:txBody>
      </p:sp>
      <p:cxnSp>
        <p:nvCxnSpPr>
          <p:cNvPr id="20" name="Straight Connector 19">
            <a:extLst>
              <a:ext uri="{FF2B5EF4-FFF2-40B4-BE49-F238E27FC236}">
                <a16:creationId xmlns:a16="http://schemas.microsoft.com/office/drawing/2014/main" id="{27004B35-9006-4A65-AF77-467CB36F2550}"/>
              </a:ext>
            </a:extLst>
          </p:cNvPr>
          <p:cNvCxnSpPr>
            <a:cxnSpLocks/>
          </p:cNvCxnSpPr>
          <p:nvPr userDrawn="1"/>
        </p:nvCxnSpPr>
        <p:spPr>
          <a:xfrm>
            <a:off x="627064" y="3786190"/>
            <a:ext cx="3195637" cy="0"/>
          </a:xfrm>
          <a:prstGeom prst="line">
            <a:avLst/>
          </a:prstGeom>
          <a:ln w="9525"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itle 21">
            <a:extLst>
              <a:ext uri="{FF2B5EF4-FFF2-40B4-BE49-F238E27FC236}">
                <a16:creationId xmlns:a16="http://schemas.microsoft.com/office/drawing/2014/main" id="{FCE4F576-727A-4B7D-B2C5-3ED7625FC5D9}"/>
              </a:ext>
            </a:extLst>
          </p:cNvPr>
          <p:cNvSpPr>
            <a:spLocks noGrp="1"/>
          </p:cNvSpPr>
          <p:nvPr>
            <p:ph type="title"/>
          </p:nvPr>
        </p:nvSpPr>
        <p:spPr>
          <a:xfrm>
            <a:off x="627063" y="4000467"/>
            <a:ext cx="3555832" cy="1349747"/>
          </a:xfrm>
        </p:spPr>
        <p:txBody>
          <a:bodyPr lIns="0" tIns="0" rIns="0" bIns="0"/>
          <a:lstStyle>
            <a:lvl1pPr>
              <a:defRPr kumimoji="0" lang="en-US" sz="3598" b="0" i="0" u="none" strike="noStrike" kern="1200" cap="none" spc="0" normalizeH="0" baseline="0" dirty="0">
                <a:ln>
                  <a:noFill/>
                </a:ln>
                <a:solidFill>
                  <a:srgbClr val="FFFFFF"/>
                </a:solidFill>
                <a:effectLst/>
                <a:uLnTx/>
                <a:uFillTx/>
                <a:latin typeface="EYInterstate Light" panose="02000506000000020004" pitchFamily="2" charset="0"/>
                <a:ea typeface="+mn-ea"/>
                <a:cs typeface="+mn-cs"/>
              </a:defRPr>
            </a:lvl1pPr>
          </a:lstStyle>
          <a:p>
            <a:pPr marL="0" marR="0" lvl="0" indent="0" algn="l" defTabSz="913943" rtl="0" eaLnBrk="1" fontAlgn="auto" latinLnBrk="0" hangingPunct="1">
              <a:lnSpc>
                <a:spcPct val="100000"/>
              </a:lnSpc>
              <a:spcBef>
                <a:spcPct val="20000"/>
              </a:spcBef>
              <a:spcAft>
                <a:spcPts val="0"/>
              </a:spcAft>
              <a:buClr>
                <a:srgbClr val="FFFFFF"/>
              </a:buClr>
              <a:buSzPct val="100000"/>
              <a:buFont typeface="EYInterstate Light" panose="02000506000000020004" pitchFamily="2" charset="0"/>
              <a:buNone/>
              <a:tabLst/>
              <a:defRPr/>
            </a:pPr>
            <a:r>
              <a:rPr lang="en-US"/>
              <a:t>Click to edit Master title style</a:t>
            </a:r>
          </a:p>
        </p:txBody>
      </p:sp>
    </p:spTree>
    <p:extLst>
      <p:ext uri="{BB962C8B-B14F-4D97-AF65-F5344CB8AC3E}">
        <p14:creationId xmlns:p14="http://schemas.microsoft.com/office/powerpoint/2010/main" val="4213343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over 1">
    <p:spTree>
      <p:nvGrpSpPr>
        <p:cNvPr id="1" name=""/>
        <p:cNvGrpSpPr/>
        <p:nvPr/>
      </p:nvGrpSpPr>
      <p:grpSpPr>
        <a:xfrm>
          <a:off x="0" y="0"/>
          <a:ext cx="0" cy="0"/>
          <a:chOff x="0" y="0"/>
          <a:chExt cx="0" cy="0"/>
        </a:xfrm>
      </p:grpSpPr>
      <p:pic>
        <p:nvPicPr>
          <p:cNvPr id="3" name="Picture 2" descr="A group of people running on a boardwalk&#10;&#10;Description automatically generated">
            <a:extLst>
              <a:ext uri="{FF2B5EF4-FFF2-40B4-BE49-F238E27FC236}">
                <a16:creationId xmlns:a16="http://schemas.microsoft.com/office/drawing/2014/main" id="{FB0470E0-A4AD-4F74-9E10-191813B35A6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198350" cy="6858000"/>
          </a:xfrm>
          <a:prstGeom prst="rect">
            <a:avLst/>
          </a:prstGeom>
        </p:spPr>
      </p:pic>
      <p:sp>
        <p:nvSpPr>
          <p:cNvPr id="11" name="Rectangle 10">
            <a:extLst>
              <a:ext uri="{FF2B5EF4-FFF2-40B4-BE49-F238E27FC236}">
                <a16:creationId xmlns:a16="http://schemas.microsoft.com/office/drawing/2014/main" id="{38A5446B-9D2F-4C49-B94F-4EE572A10CD0}"/>
              </a:ext>
            </a:extLst>
          </p:cNvPr>
          <p:cNvSpPr/>
          <p:nvPr userDrawn="1"/>
        </p:nvSpPr>
        <p:spPr>
          <a:xfrm>
            <a:off x="2" y="3657600"/>
            <a:ext cx="12198349" cy="3200400"/>
          </a:xfrm>
          <a:prstGeom prst="rect">
            <a:avLst/>
          </a:prstGeom>
          <a:gradFill flip="none" rotWithShape="1">
            <a:gsLst>
              <a:gs pos="0">
                <a:srgbClr val="000000">
                  <a:alpha val="59000"/>
                </a:srgbClr>
              </a:gs>
              <a:gs pos="54000">
                <a:srgbClr val="000000">
                  <a:alpha val="0"/>
                </a:srgbClr>
              </a:gs>
            </a:gsLst>
            <a:lin ang="16200000" scaled="1"/>
            <a:tileRect/>
          </a:gra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dirty="0">
              <a:ln>
                <a:noFill/>
              </a:ln>
              <a:solidFill>
                <a:srgbClr val="FFFFFF"/>
              </a:solidFill>
              <a:effectLst/>
              <a:uLnTx/>
              <a:uFillTx/>
              <a:latin typeface="EYInterstate Light"/>
              <a:ea typeface="+mn-ea"/>
              <a:cs typeface="+mn-cs"/>
            </a:endParaRPr>
          </a:p>
        </p:txBody>
      </p:sp>
      <p:grpSp>
        <p:nvGrpSpPr>
          <p:cNvPr id="12" name="Group 11">
            <a:extLst>
              <a:ext uri="{FF2B5EF4-FFF2-40B4-BE49-F238E27FC236}">
                <a16:creationId xmlns:a16="http://schemas.microsoft.com/office/drawing/2014/main" id="{E9C0D06F-A00D-40C6-BD36-8B6E67C7F15D}"/>
              </a:ext>
            </a:extLst>
          </p:cNvPr>
          <p:cNvGrpSpPr>
            <a:grpSpLocks noChangeAspect="1"/>
          </p:cNvGrpSpPr>
          <p:nvPr userDrawn="1"/>
        </p:nvGrpSpPr>
        <p:grpSpPr bwMode="black">
          <a:xfrm>
            <a:off x="10384489" y="4919979"/>
            <a:ext cx="1225551" cy="1435100"/>
            <a:chOff x="6529" y="3125"/>
            <a:chExt cx="772" cy="904"/>
          </a:xfrm>
        </p:grpSpPr>
        <p:sp>
          <p:nvSpPr>
            <p:cNvPr id="13" name="Freeform 5">
              <a:extLst>
                <a:ext uri="{FF2B5EF4-FFF2-40B4-BE49-F238E27FC236}">
                  <a16:creationId xmlns:a16="http://schemas.microsoft.com/office/drawing/2014/main" id="{8F370C56-D707-4488-801A-29D72DA0AC81}"/>
                </a:ext>
              </a:extLst>
            </p:cNvPr>
            <p:cNvSpPr>
              <a:spLocks/>
            </p:cNvSpPr>
            <p:nvPr userDrawn="1"/>
          </p:nvSpPr>
          <p:spPr bwMode="black">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dirty="0">
                <a:ln>
                  <a:noFill/>
                </a:ln>
                <a:solidFill>
                  <a:srgbClr val="FFFFFF"/>
                </a:solidFill>
                <a:effectLst/>
                <a:uLnTx/>
                <a:uFillTx/>
              </a:endParaRPr>
            </a:p>
          </p:txBody>
        </p:sp>
        <p:sp>
          <p:nvSpPr>
            <p:cNvPr id="14" name="Freeform 6">
              <a:extLst>
                <a:ext uri="{FF2B5EF4-FFF2-40B4-BE49-F238E27FC236}">
                  <a16:creationId xmlns:a16="http://schemas.microsoft.com/office/drawing/2014/main" id="{8046D461-5B7C-43FF-90B7-8ECFD2FE1CFC}"/>
                </a:ext>
              </a:extLst>
            </p:cNvPr>
            <p:cNvSpPr>
              <a:spLocks noEditPoints="1"/>
            </p:cNvSpPr>
            <p:nvPr userDrawn="1"/>
          </p:nvSpPr>
          <p:spPr bwMode="black">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dirty="0">
                <a:ln>
                  <a:noFill/>
                </a:ln>
                <a:solidFill>
                  <a:srgbClr val="FFFFFF"/>
                </a:solidFill>
                <a:effectLst/>
                <a:uLnTx/>
                <a:uFillTx/>
              </a:endParaRPr>
            </a:p>
          </p:txBody>
        </p:sp>
      </p:grpSp>
      <p:sp>
        <p:nvSpPr>
          <p:cNvPr id="20" name="Freeform: Shape 19">
            <a:extLst>
              <a:ext uri="{FF2B5EF4-FFF2-40B4-BE49-F238E27FC236}">
                <a16:creationId xmlns:a16="http://schemas.microsoft.com/office/drawing/2014/main" id="{D4A69AAB-B218-453A-B1B5-3F733671F829}"/>
              </a:ext>
            </a:extLst>
          </p:cNvPr>
          <p:cNvSpPr>
            <a:spLocks/>
          </p:cNvSpPr>
          <p:nvPr userDrawn="1"/>
        </p:nvSpPr>
        <p:spPr>
          <a:xfrm>
            <a:off x="627064" y="857943"/>
            <a:ext cx="4046537" cy="3269095"/>
          </a:xfrm>
          <a:custGeom>
            <a:avLst/>
            <a:gdLst>
              <a:gd name="connsiteX0" fmla="*/ 3407115 w 3422619"/>
              <a:gd name="connsiteY0" fmla="*/ 0 h 2921000"/>
              <a:gd name="connsiteX1" fmla="*/ 3422619 w 3422619"/>
              <a:gd name="connsiteY1" fmla="*/ 0 h 2921000"/>
              <a:gd name="connsiteX2" fmla="*/ 3422619 w 3422619"/>
              <a:gd name="connsiteY2" fmla="*/ 146379 h 2921000"/>
              <a:gd name="connsiteX3" fmla="*/ 3422619 w 3422619"/>
              <a:gd name="connsiteY3" fmla="*/ 288408 h 2921000"/>
              <a:gd name="connsiteX4" fmla="*/ 3422619 w 3422619"/>
              <a:gd name="connsiteY4" fmla="*/ 434788 h 2921000"/>
              <a:gd name="connsiteX5" fmla="*/ 3422619 w 3422619"/>
              <a:gd name="connsiteY5" fmla="*/ 2486213 h 2921000"/>
              <a:gd name="connsiteX6" fmla="*/ 3422619 w 3422619"/>
              <a:gd name="connsiteY6" fmla="*/ 2632592 h 2921000"/>
              <a:gd name="connsiteX7" fmla="*/ 3422619 w 3422619"/>
              <a:gd name="connsiteY7" fmla="*/ 2774621 h 2921000"/>
              <a:gd name="connsiteX8" fmla="*/ 3422619 w 3422619"/>
              <a:gd name="connsiteY8" fmla="*/ 2921000 h 2921000"/>
              <a:gd name="connsiteX9" fmla="*/ 0 w 3422619"/>
              <a:gd name="connsiteY9" fmla="*/ 2921000 h 2921000"/>
              <a:gd name="connsiteX10" fmla="*/ 0 w 3422619"/>
              <a:gd name="connsiteY10" fmla="*/ 2774621 h 2921000"/>
              <a:gd name="connsiteX11" fmla="*/ 0 w 3422619"/>
              <a:gd name="connsiteY11" fmla="*/ 2632592 h 2921000"/>
              <a:gd name="connsiteX12" fmla="*/ 0 w 3422619"/>
              <a:gd name="connsiteY12" fmla="*/ 2486213 h 2921000"/>
              <a:gd name="connsiteX13" fmla="*/ 0 w 3422619"/>
              <a:gd name="connsiteY13" fmla="*/ 1035554 h 2921000"/>
              <a:gd name="connsiteX14" fmla="*/ 0 w 3422619"/>
              <a:gd name="connsiteY14" fmla="*/ 889175 h 2921000"/>
              <a:gd name="connsiteX15" fmla="*/ 0 w 3422619"/>
              <a:gd name="connsiteY15" fmla="*/ 747145 h 2921000"/>
              <a:gd name="connsiteX16" fmla="*/ 0 w 3422619"/>
              <a:gd name="connsiteY16" fmla="*/ 600766 h 292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22619" h="2921000">
                <a:moveTo>
                  <a:pt x="3407115" y="0"/>
                </a:moveTo>
                <a:lnTo>
                  <a:pt x="3422619" y="0"/>
                </a:lnTo>
                <a:lnTo>
                  <a:pt x="3422619" y="146379"/>
                </a:lnTo>
                <a:lnTo>
                  <a:pt x="3422619" y="288408"/>
                </a:lnTo>
                <a:lnTo>
                  <a:pt x="3422619" y="434788"/>
                </a:lnTo>
                <a:lnTo>
                  <a:pt x="3422619" y="2486213"/>
                </a:lnTo>
                <a:lnTo>
                  <a:pt x="3422619" y="2632592"/>
                </a:lnTo>
                <a:lnTo>
                  <a:pt x="3422619" y="2774621"/>
                </a:lnTo>
                <a:lnTo>
                  <a:pt x="3422619" y="2921000"/>
                </a:lnTo>
                <a:lnTo>
                  <a:pt x="0" y="2921000"/>
                </a:lnTo>
                <a:lnTo>
                  <a:pt x="0" y="2774621"/>
                </a:lnTo>
                <a:lnTo>
                  <a:pt x="0" y="2632592"/>
                </a:lnTo>
                <a:lnTo>
                  <a:pt x="0" y="2486213"/>
                </a:lnTo>
                <a:lnTo>
                  <a:pt x="0" y="1035554"/>
                </a:lnTo>
                <a:lnTo>
                  <a:pt x="0" y="889175"/>
                </a:lnTo>
                <a:lnTo>
                  <a:pt x="0" y="747145"/>
                </a:lnTo>
                <a:lnTo>
                  <a:pt x="0" y="600766"/>
                </a:lnTo>
                <a:close/>
              </a:path>
            </a:pathLst>
          </a:custGeom>
          <a:solidFill>
            <a:srgbClr val="FFE600"/>
          </a:solidFill>
          <a:ln w="25400" cap="flat" cmpd="sng" algn="ctr">
            <a:noFill/>
            <a:prstDash val="solid"/>
          </a:ln>
          <a:effectLst/>
        </p:spPr>
        <p:txBody>
          <a:bodyPr wrap="square" lIns="82337" tIns="41169" rIns="82337" bIns="41169" rtlCol="0" anchor="ctr">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18" name="Title 1">
            <a:extLst>
              <a:ext uri="{FF2B5EF4-FFF2-40B4-BE49-F238E27FC236}">
                <a16:creationId xmlns:a16="http://schemas.microsoft.com/office/drawing/2014/main" id="{6AF43141-75A3-4636-939A-331DC56E036B}"/>
              </a:ext>
            </a:extLst>
          </p:cNvPr>
          <p:cNvSpPr>
            <a:spLocks noGrp="1"/>
          </p:cNvSpPr>
          <p:nvPr>
            <p:ph type="ctrTitle"/>
          </p:nvPr>
        </p:nvSpPr>
        <p:spPr>
          <a:xfrm>
            <a:off x="898062" y="1777863"/>
            <a:ext cx="3541416" cy="979702"/>
          </a:xfrm>
        </p:spPr>
        <p:txBody>
          <a:bodyPr/>
          <a:lstStyle>
            <a:lvl1pPr>
              <a:lnSpc>
                <a:spcPct val="100000"/>
              </a:lnSpc>
              <a:defRPr sz="2799"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a:extLst>
              <a:ext uri="{FF2B5EF4-FFF2-40B4-BE49-F238E27FC236}">
                <a16:creationId xmlns:a16="http://schemas.microsoft.com/office/drawing/2014/main" id="{8E464487-DB95-4774-B775-8067FA0E6624}"/>
              </a:ext>
            </a:extLst>
          </p:cNvPr>
          <p:cNvSpPr>
            <a:spLocks noGrp="1"/>
          </p:cNvSpPr>
          <p:nvPr>
            <p:ph type="subTitle" idx="1"/>
          </p:nvPr>
        </p:nvSpPr>
        <p:spPr>
          <a:xfrm>
            <a:off x="898062" y="2869802"/>
            <a:ext cx="3541416" cy="603873"/>
          </a:xfrm>
        </p:spPr>
        <p:txBody>
          <a:bodyPr/>
          <a:lstStyle>
            <a:lvl1pPr marL="0" indent="0" algn="l">
              <a:spcAft>
                <a:spcPts val="1199"/>
              </a:spcAft>
              <a:buNone/>
              <a:defRPr sz="15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16182491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Two columns, no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FB6BE3-7616-4D3A-9AB7-420CA8072493}"/>
              </a:ext>
            </a:extLst>
          </p:cNvPr>
          <p:cNvGraphicFramePr>
            <a:graphicFrameLocks noChangeAspect="1"/>
          </p:cNvGraphicFramePr>
          <p:nvPr userDrawn="1">
            <p:custDataLst>
              <p:tags r:id="rId1"/>
            </p:custDataLst>
            <p:extLst>
              <p:ext uri="{D42A27DB-BD31-4B8C-83A1-F6EECF244321}">
                <p14:modId xmlns:p14="http://schemas.microsoft.com/office/powerpoint/2010/main" val="387007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9FFB6BE3-7616-4D3A-9AB7-420CA8072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919" y="294200"/>
            <a:ext cx="10978515" cy="590880"/>
          </a:xfrm>
        </p:spPr>
        <p:txBody>
          <a:bodyPr vert="horz"/>
          <a:lstStyle>
            <a:lvl1pPr>
              <a:defRPr>
                <a:solidFill>
                  <a:schemeClr val="bg1"/>
                </a:solidFill>
                <a:latin typeface="EYInterstate Light" panose="02000506000000020004" pitchFamily="2" charset="0"/>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latin typeface="EYInterstate Light" panose="02000506000000020004" pitchFamily="2" charset="0"/>
              </a:defRPr>
            </a:lvl1pPr>
            <a:lvl2pPr>
              <a:defRPr sz="1799">
                <a:solidFill>
                  <a:schemeClr val="bg1"/>
                </a:solidFill>
                <a:latin typeface="EYInterstate Light" panose="02000506000000020004" pitchFamily="2" charset="0"/>
              </a:defRPr>
            </a:lvl2pPr>
            <a:lvl3pPr>
              <a:defRPr sz="1599">
                <a:solidFill>
                  <a:schemeClr val="bg1"/>
                </a:solidFill>
                <a:latin typeface="EYInterstate Light" panose="02000506000000020004" pitchFamily="2" charset="0"/>
              </a:defRPr>
            </a:lvl3pPr>
            <a:lvl4pPr>
              <a:defRPr sz="1399">
                <a:solidFill>
                  <a:schemeClr val="bg1"/>
                </a:solidFill>
                <a:latin typeface="EYInterstate Light" panose="02000506000000020004" pitchFamily="2" charset="0"/>
              </a:defRPr>
            </a:lvl4pPr>
            <a:lvl5pPr>
              <a:defRPr sz="1199">
                <a:solidFill>
                  <a:schemeClr val="bg1"/>
                </a:solidFill>
                <a:latin typeface="EYInterstate Light" panose="02000506000000020004" pitchFamily="2" charset="0"/>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latin typeface="EYInterstate Light" panose="02000506000000020004" pitchFamily="2" charset="0"/>
              </a:defRPr>
            </a:lvl1pPr>
            <a:lvl2pPr>
              <a:defRPr sz="1799">
                <a:solidFill>
                  <a:schemeClr val="bg1"/>
                </a:solidFill>
                <a:latin typeface="EYInterstate Light" panose="02000506000000020004" pitchFamily="2" charset="0"/>
              </a:defRPr>
            </a:lvl2pPr>
            <a:lvl3pPr>
              <a:defRPr sz="1599">
                <a:solidFill>
                  <a:schemeClr val="bg1"/>
                </a:solidFill>
                <a:latin typeface="EYInterstate Light" panose="02000506000000020004" pitchFamily="2" charset="0"/>
              </a:defRPr>
            </a:lvl3pPr>
            <a:lvl4pPr>
              <a:defRPr sz="1399">
                <a:solidFill>
                  <a:schemeClr val="bg1"/>
                </a:solidFill>
                <a:latin typeface="EYInterstate Light" panose="02000506000000020004" pitchFamily="2" charset="0"/>
              </a:defRPr>
            </a:lvl4pPr>
            <a:lvl5pPr>
              <a:defRPr sz="1199">
                <a:solidFill>
                  <a:schemeClr val="bg1"/>
                </a:solidFill>
                <a:latin typeface="EYInterstate Light" panose="02000506000000020004" pitchFamily="2" charset="0"/>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02081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sp>
        <p:nvSpPr>
          <p:cNvPr id="5" name="Rectangle 4">
            <a:extLst>
              <a:ext uri="{FF2B5EF4-FFF2-40B4-BE49-F238E27FC236}">
                <a16:creationId xmlns:a16="http://schemas.microsoft.com/office/drawing/2014/main" id="{D3D7F83F-8021-4A06-B440-61C134D394A9}"/>
              </a:ext>
            </a:extLst>
          </p:cNvPr>
          <p:cNvSpPr/>
          <p:nvPr userDrawn="1"/>
        </p:nvSpPr>
        <p:spPr>
          <a:xfrm>
            <a:off x="0" y="-23682"/>
            <a:ext cx="12198350" cy="6858000"/>
          </a:xfrm>
          <a:prstGeom prst="rect">
            <a:avLst/>
          </a:prstGeom>
          <a:gradFill flip="none" rotWithShape="1">
            <a:gsLst>
              <a:gs pos="51000">
                <a:srgbClr val="656966">
                  <a:alpha val="37000"/>
                </a:srgbClr>
              </a:gs>
              <a:gs pos="0">
                <a:schemeClr val="accent1">
                  <a:lumMod val="5000"/>
                  <a:lumOff val="95000"/>
                  <a:alpha val="0"/>
                </a:schemeClr>
              </a:gs>
              <a:gs pos="100000">
                <a:schemeClr val="bg2">
                  <a:alpha val="60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186" name="Group 185">
            <a:extLst>
              <a:ext uri="{FF2B5EF4-FFF2-40B4-BE49-F238E27FC236}">
                <a16:creationId xmlns:a16="http://schemas.microsoft.com/office/drawing/2014/main" id="{9CDE954B-B280-441B-9B2D-3DC58AAE3926}"/>
              </a:ext>
            </a:extLst>
          </p:cNvPr>
          <p:cNvGrpSpPr/>
          <p:nvPr userDrawn="1"/>
        </p:nvGrpSpPr>
        <p:grpSpPr>
          <a:xfrm>
            <a:off x="929356" y="5825843"/>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5360460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guide id="3" pos="6386">
          <p15:clr>
            <a:srgbClr val="FBAE40"/>
          </p15:clr>
        </p15:guide>
        <p15:guide id="4" orient="horz" pos="25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3911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9E92A9-7E8E-4E94-A483-D3492470A61C}"/>
              </a:ext>
            </a:extLst>
          </p:cNvPr>
          <p:cNvGraphicFramePr>
            <a:graphicFrameLocks noChangeAspect="1"/>
          </p:cNvGraphicFramePr>
          <p:nvPr userDrawn="1">
            <p:custDataLst>
              <p:tags r:id="rId1"/>
            </p:custDataLst>
            <p:extLst>
              <p:ext uri="{D42A27DB-BD31-4B8C-83A1-F6EECF244321}">
                <p14:modId xmlns:p14="http://schemas.microsoft.com/office/powerpoint/2010/main" val="3322837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B49E92A9-7E8E-4E94-A483-D3492470A6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937204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531338-C16B-48D0-99C1-A87C40FC44BD}"/>
              </a:ext>
            </a:extLst>
          </p:cNvPr>
          <p:cNvGraphicFramePr>
            <a:graphicFrameLocks noChangeAspect="1"/>
          </p:cNvGraphicFramePr>
          <p:nvPr userDrawn="1">
            <p:custDataLst>
              <p:tags r:id="rId1"/>
            </p:custDataLst>
            <p:extLst>
              <p:ext uri="{D42A27DB-BD31-4B8C-83A1-F6EECF244321}">
                <p14:modId xmlns:p14="http://schemas.microsoft.com/office/powerpoint/2010/main" val="3923831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0531338-C16B-48D0-99C1-A87C40FC44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09918" y="294200"/>
            <a:ext cx="10978515" cy="590400"/>
          </a:xfrm>
        </p:spPr>
        <p:txBody>
          <a:bodyPr vert="horz"/>
          <a:lstStyle>
            <a:lvl1pPr>
              <a:defRPr sz="2400">
                <a:solidFill>
                  <a:schemeClr val="bg1"/>
                </a:solidFill>
                <a:latin typeface="EYInterstate Light" panose="02000506000000020004" pitchFamily="2" charset="0"/>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56737"/>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27274351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CEB148-D267-4976-89E4-662AAA69FC9D}"/>
              </a:ext>
            </a:extLst>
          </p:cNvPr>
          <p:cNvGraphicFramePr>
            <a:graphicFrameLocks noChangeAspect="1"/>
          </p:cNvGraphicFramePr>
          <p:nvPr userDrawn="1">
            <p:custDataLst>
              <p:tags r:id="rId1"/>
            </p:custDataLst>
            <p:extLst>
              <p:ext uri="{D42A27DB-BD31-4B8C-83A1-F6EECF244321}">
                <p14:modId xmlns:p14="http://schemas.microsoft.com/office/powerpoint/2010/main" val="418287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EECEB148-D267-4976-89E4-662AAA69FC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863148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5EEFF0-0669-44AF-BE78-B1614FF04AC9}"/>
              </a:ext>
            </a:extLst>
          </p:cNvPr>
          <p:cNvGraphicFramePr>
            <a:graphicFrameLocks noChangeAspect="1"/>
          </p:cNvGraphicFramePr>
          <p:nvPr userDrawn="1">
            <p:custDataLst>
              <p:tags r:id="rId1"/>
            </p:custDataLst>
            <p:extLst>
              <p:ext uri="{D42A27DB-BD31-4B8C-83A1-F6EECF244321}">
                <p14:modId xmlns:p14="http://schemas.microsoft.com/office/powerpoint/2010/main" val="272013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B65EEFF0-0669-44AF-BE78-B1614FF04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53568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6400A9A-B927-4252-954F-809B10A110D5}"/>
              </a:ext>
            </a:extLst>
          </p:cNvPr>
          <p:cNvGraphicFramePr>
            <a:graphicFrameLocks noChangeAspect="1"/>
          </p:cNvGraphicFramePr>
          <p:nvPr userDrawn="1">
            <p:custDataLst>
              <p:tags r:id="rId1"/>
            </p:custDataLst>
            <p:extLst>
              <p:ext uri="{D42A27DB-BD31-4B8C-83A1-F6EECF244321}">
                <p14:modId xmlns:p14="http://schemas.microsoft.com/office/powerpoint/2010/main" val="2949424477"/>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9" name="Object 8" hidden="1">
                        <a:extLst>
                          <a:ext uri="{FF2B5EF4-FFF2-40B4-BE49-F238E27FC236}">
                            <a16:creationId xmlns:a16="http://schemas.microsoft.com/office/drawing/2014/main" id="{A6400A9A-B927-4252-954F-809B10A110D5}"/>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2C8A3D17-CFAF-4362-B19A-E6A30D13C6C4}"/>
              </a:ext>
            </a:extLst>
          </p:cNvPr>
          <p:cNvGrpSpPr/>
          <p:nvPr userDrawn="1"/>
        </p:nvGrpSpPr>
        <p:grpSpPr>
          <a:xfrm>
            <a:off x="0" y="-718467"/>
            <a:ext cx="11525916" cy="7161939"/>
            <a:chOff x="0" y="-718467"/>
            <a:chExt cx="11519916" cy="7161939"/>
          </a:xfrm>
          <a:solidFill>
            <a:srgbClr val="97D5D4"/>
          </a:solidFill>
        </p:grpSpPr>
        <p:sp>
          <p:nvSpPr>
            <p:cNvPr id="11" name="Isosceles Triangle 10">
              <a:extLst>
                <a:ext uri="{FF2B5EF4-FFF2-40B4-BE49-F238E27FC236}">
                  <a16:creationId xmlns:a16="http://schemas.microsoft.com/office/drawing/2014/main" id="{419C58ED-CFAA-4A0E-A998-BE3742578869}"/>
                </a:ext>
              </a:extLst>
            </p:cNvPr>
            <p:cNvSpPr/>
            <p:nvPr userDrawn="1"/>
          </p:nvSpPr>
          <p:spPr>
            <a:xfrm rot="5400000">
              <a:off x="295333" y="5440358"/>
              <a:ext cx="707781" cy="1298447"/>
            </a:xfrm>
            <a:prstGeom prst="triangle">
              <a:avLst>
                <a:gd name="adj" fmla="val 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23" name="Group 22">
              <a:extLst>
                <a:ext uri="{FF2B5EF4-FFF2-40B4-BE49-F238E27FC236}">
                  <a16:creationId xmlns:a16="http://schemas.microsoft.com/office/drawing/2014/main" id="{B8FF2D4C-E2B2-439E-9F04-7D4EFCA716BB}"/>
                </a:ext>
              </a:extLst>
            </p:cNvPr>
            <p:cNvGrpSpPr/>
            <p:nvPr userDrawn="1"/>
          </p:nvGrpSpPr>
          <p:grpSpPr>
            <a:xfrm>
              <a:off x="0" y="-718467"/>
              <a:ext cx="11519916" cy="6463947"/>
              <a:chOff x="0" y="-718467"/>
              <a:chExt cx="11519916" cy="6463947"/>
            </a:xfrm>
            <a:grpFill/>
          </p:grpSpPr>
          <p:sp>
            <p:nvSpPr>
              <p:cNvPr id="15" name="Isosceles Triangle 14">
                <a:extLst>
                  <a:ext uri="{FF2B5EF4-FFF2-40B4-BE49-F238E27FC236}">
                    <a16:creationId xmlns:a16="http://schemas.microsoft.com/office/drawing/2014/main" id="{E46C6554-4C0C-4A09-9299-4B8F512529AC}"/>
                  </a:ext>
                </a:extLst>
              </p:cNvPr>
              <p:cNvSpPr/>
              <p:nvPr userDrawn="1"/>
            </p:nvSpPr>
            <p:spPr>
              <a:xfrm rot="19690490">
                <a:off x="5847369" y="-718467"/>
                <a:ext cx="2329816" cy="2990079"/>
              </a:xfrm>
              <a:prstGeom prst="triangle">
                <a:avLst>
                  <a:gd name="adj" fmla="val 8735"/>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16" name="Group 15">
                <a:extLst>
                  <a:ext uri="{FF2B5EF4-FFF2-40B4-BE49-F238E27FC236}">
                    <a16:creationId xmlns:a16="http://schemas.microsoft.com/office/drawing/2014/main" id="{02C5F334-FD9F-468E-8BCA-3B9B0AB2DBCB}"/>
                  </a:ext>
                </a:extLst>
              </p:cNvPr>
              <p:cNvGrpSpPr/>
              <p:nvPr userDrawn="1"/>
            </p:nvGrpSpPr>
            <p:grpSpPr>
              <a:xfrm>
                <a:off x="0" y="-364906"/>
                <a:ext cx="11519916" cy="6110386"/>
                <a:chOff x="0" y="-364906"/>
                <a:chExt cx="11519916" cy="6110386"/>
              </a:xfrm>
              <a:grpFill/>
            </p:grpSpPr>
            <p:sp>
              <p:nvSpPr>
                <p:cNvPr id="21" name="Isosceles Triangle 20">
                  <a:extLst>
                    <a:ext uri="{FF2B5EF4-FFF2-40B4-BE49-F238E27FC236}">
                      <a16:creationId xmlns:a16="http://schemas.microsoft.com/office/drawing/2014/main" id="{B961FDB8-303C-4D84-A080-F523952FA8D6}"/>
                    </a:ext>
                  </a:extLst>
                </p:cNvPr>
                <p:cNvSpPr/>
                <p:nvPr userDrawn="1"/>
              </p:nvSpPr>
              <p:spPr>
                <a:xfrm rot="2606339">
                  <a:off x="5547363" y="-364906"/>
                  <a:ext cx="2548128" cy="1444752"/>
                </a:xfrm>
                <a:prstGeom prst="triangle">
                  <a:avLst>
                    <a:gd name="adj" fmla="val 10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10" name="Group 9">
                  <a:extLst>
                    <a:ext uri="{FF2B5EF4-FFF2-40B4-BE49-F238E27FC236}">
                      <a16:creationId xmlns:a16="http://schemas.microsoft.com/office/drawing/2014/main" id="{1A046B6A-7FBE-406C-8E30-A5AC9EBCC869}"/>
                    </a:ext>
                  </a:extLst>
                </p:cNvPr>
                <p:cNvGrpSpPr/>
                <p:nvPr userDrawn="1"/>
              </p:nvGrpSpPr>
              <p:grpSpPr>
                <a:xfrm>
                  <a:off x="0" y="0"/>
                  <a:ext cx="11519916" cy="5745480"/>
                  <a:chOff x="0" y="0"/>
                  <a:chExt cx="11519916" cy="5745480"/>
                </a:xfrm>
                <a:grpFill/>
              </p:grpSpPr>
              <p:sp>
                <p:nvSpPr>
                  <p:cNvPr id="6" name="Flowchart: Process 5">
                    <a:extLst>
                      <a:ext uri="{FF2B5EF4-FFF2-40B4-BE49-F238E27FC236}">
                        <a16:creationId xmlns:a16="http://schemas.microsoft.com/office/drawing/2014/main" id="{8AA15173-0B17-4C76-B8C3-B25D8D5B55CB}"/>
                      </a:ext>
                    </a:extLst>
                  </p:cNvPr>
                  <p:cNvSpPr/>
                  <p:nvPr userDrawn="1"/>
                </p:nvSpPr>
                <p:spPr>
                  <a:xfrm rot="19841965">
                    <a:off x="326752" y="1319593"/>
                    <a:ext cx="6206120" cy="3007582"/>
                  </a:xfrm>
                  <a:prstGeom prst="flowChartProcess">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Isosceles Triangle 6">
                    <a:extLst>
                      <a:ext uri="{FF2B5EF4-FFF2-40B4-BE49-F238E27FC236}">
                        <a16:creationId xmlns:a16="http://schemas.microsoft.com/office/drawing/2014/main" id="{FD6D3EF8-2A4E-434A-B3B2-EA21E025F8C3}"/>
                      </a:ext>
                    </a:extLst>
                  </p:cNvPr>
                  <p:cNvSpPr/>
                  <p:nvPr userDrawn="1"/>
                </p:nvSpPr>
                <p:spPr>
                  <a:xfrm>
                    <a:off x="0" y="3044704"/>
                    <a:ext cx="1270635" cy="2700776"/>
                  </a:xfrm>
                  <a:prstGeom prst="triangle">
                    <a:avLst>
                      <a:gd name="adj" fmla="val 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3" name="Isosceles Triangle 12">
                    <a:extLst>
                      <a:ext uri="{FF2B5EF4-FFF2-40B4-BE49-F238E27FC236}">
                        <a16:creationId xmlns:a16="http://schemas.microsoft.com/office/drawing/2014/main" id="{236CFB73-D326-437E-AFCF-69B8D6D0F3F9}"/>
                      </a:ext>
                    </a:extLst>
                  </p:cNvPr>
                  <p:cNvSpPr/>
                  <p:nvPr userDrawn="1"/>
                </p:nvSpPr>
                <p:spPr>
                  <a:xfrm rot="19871661">
                    <a:off x="392248" y="2694467"/>
                    <a:ext cx="1290095" cy="2976797"/>
                  </a:xfrm>
                  <a:prstGeom prst="triangle">
                    <a:avLst>
                      <a:gd name="adj" fmla="val 20617"/>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8" name="Isosceles Triangle 17">
                    <a:extLst>
                      <a:ext uri="{FF2B5EF4-FFF2-40B4-BE49-F238E27FC236}">
                        <a16:creationId xmlns:a16="http://schemas.microsoft.com/office/drawing/2014/main" id="{51A08056-F8B7-4B5F-9B3B-8B0C7B41C70D}"/>
                      </a:ext>
                    </a:extLst>
                  </p:cNvPr>
                  <p:cNvSpPr/>
                  <p:nvPr userDrawn="1"/>
                </p:nvSpPr>
                <p:spPr>
                  <a:xfrm rot="10800000">
                    <a:off x="5394960" y="0"/>
                    <a:ext cx="3576319" cy="1444752"/>
                  </a:xfrm>
                  <a:prstGeom prst="triangle">
                    <a:avLst>
                      <a:gd name="adj" fmla="val 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9" name="Isosceles Triangle 18">
                    <a:extLst>
                      <a:ext uri="{FF2B5EF4-FFF2-40B4-BE49-F238E27FC236}">
                        <a16:creationId xmlns:a16="http://schemas.microsoft.com/office/drawing/2014/main" id="{DBDD1624-CBF9-48E4-9278-3463A8DD0A31}"/>
                      </a:ext>
                    </a:extLst>
                  </p:cNvPr>
                  <p:cNvSpPr/>
                  <p:nvPr userDrawn="1"/>
                </p:nvSpPr>
                <p:spPr>
                  <a:xfrm rot="10800000">
                    <a:off x="8971788" y="0"/>
                    <a:ext cx="2548128" cy="1444752"/>
                  </a:xfrm>
                  <a:prstGeom prst="triangle">
                    <a:avLst>
                      <a:gd name="adj" fmla="val 10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0" name="Isosceles Triangle 19">
                    <a:extLst>
                      <a:ext uri="{FF2B5EF4-FFF2-40B4-BE49-F238E27FC236}">
                        <a16:creationId xmlns:a16="http://schemas.microsoft.com/office/drawing/2014/main" id="{F19A78CB-8920-4A31-9BA0-2595E5EAA52E}"/>
                      </a:ext>
                    </a:extLst>
                  </p:cNvPr>
                  <p:cNvSpPr/>
                  <p:nvPr userDrawn="1"/>
                </p:nvSpPr>
                <p:spPr>
                  <a:xfrm rot="19847087">
                    <a:off x="6565900" y="524095"/>
                    <a:ext cx="2548128" cy="1444752"/>
                  </a:xfrm>
                  <a:prstGeom prst="triangle">
                    <a:avLst>
                      <a:gd name="adj" fmla="val 10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2" name="Isosceles Triangle 21">
                    <a:extLst>
                      <a:ext uri="{FF2B5EF4-FFF2-40B4-BE49-F238E27FC236}">
                        <a16:creationId xmlns:a16="http://schemas.microsoft.com/office/drawing/2014/main" id="{A3019349-C788-47F2-B122-A83521D65584}"/>
                      </a:ext>
                    </a:extLst>
                  </p:cNvPr>
                  <p:cNvSpPr/>
                  <p:nvPr userDrawn="1"/>
                </p:nvSpPr>
                <p:spPr>
                  <a:xfrm rot="19847087">
                    <a:off x="6503671" y="420623"/>
                    <a:ext cx="1729441" cy="1444752"/>
                  </a:xfrm>
                  <a:prstGeom prst="triangle">
                    <a:avLst>
                      <a:gd name="adj" fmla="val 10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grpSp>
      </p:grpSp>
      <p:pic>
        <p:nvPicPr>
          <p:cNvPr id="2050" name="Picture 2">
            <a:extLst>
              <a:ext uri="{FF2B5EF4-FFF2-40B4-BE49-F238E27FC236}">
                <a16:creationId xmlns:a16="http://schemas.microsoft.com/office/drawing/2014/main" id="{F1CB055B-7846-4DA5-8677-3D3BB90EB1E2}"/>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3464" t="11765" b="8497"/>
          <a:stretch/>
        </p:blipFill>
        <p:spPr bwMode="auto">
          <a:xfrm rot="19849555">
            <a:off x="2341423" y="1048140"/>
            <a:ext cx="3464370" cy="2860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87960"/>
      </p:ext>
    </p:extLst>
  </p:cSld>
  <p:clrMapOvr>
    <a:masterClrMapping/>
  </p:clrMapOvr>
  <p:extLst>
    <p:ext uri="{DCECCB84-F9BA-43D5-87BE-67443E8EF086}">
      <p15:sldGuideLst xmlns:p15="http://schemas.microsoft.com/office/powerpoint/2012/main">
        <p15:guide id="1" pos="3840">
          <p15:clr>
            <a:srgbClr val="FBAE40"/>
          </p15:clr>
        </p15:guide>
        <p15:guide id="2" pos="1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B107D0-31EF-4943-B1DB-C00E34DA9C43}"/>
              </a:ext>
            </a:extLst>
          </p:cNvPr>
          <p:cNvGraphicFramePr>
            <a:graphicFrameLocks noChangeAspect="1"/>
          </p:cNvGraphicFramePr>
          <p:nvPr userDrawn="1">
            <p:custDataLst>
              <p:tags r:id="rId1"/>
            </p:custDataLst>
            <p:extLst>
              <p:ext uri="{D42A27DB-BD31-4B8C-83A1-F6EECF244321}">
                <p14:modId xmlns:p14="http://schemas.microsoft.com/office/powerpoint/2010/main" val="2218811883"/>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81B107D0-31EF-4943-B1DB-C00E34DA9C43}"/>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6" y="6019189"/>
            <a:ext cx="3089275" cy="180000"/>
          </a:xfrm>
          <a:prstGeom prst="rect">
            <a:avLst/>
          </a:prstGeom>
        </p:spPr>
        <p:txBody>
          <a:bodyPr/>
          <a:lstStyle>
            <a:lvl1pPr marL="0" indent="0">
              <a:buNone/>
              <a:defRPr sz="1198">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6" y="6216807"/>
            <a:ext cx="3089275" cy="180000"/>
          </a:xfrm>
          <a:prstGeom prst="rect">
            <a:avLst/>
          </a:prstGeom>
        </p:spPr>
        <p:txBody>
          <a:bodyPr/>
          <a:lstStyle>
            <a:lvl1pPr marL="0" indent="0">
              <a:buNone/>
              <a:defRPr sz="1198">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pic>
        <p:nvPicPr>
          <p:cNvPr id="7" name="Picture 6" descr="A picture containing person, indoor, blur&#10;&#10;Description automatically generated">
            <a:extLst>
              <a:ext uri="{FF2B5EF4-FFF2-40B4-BE49-F238E27FC236}">
                <a16:creationId xmlns:a16="http://schemas.microsoft.com/office/drawing/2014/main" id="{1C41FEFE-6681-4829-A0BC-521E73FD574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77" y="0"/>
            <a:ext cx="12198350" cy="6858000"/>
          </a:xfrm>
          <a:prstGeom prst="rect">
            <a:avLst/>
          </a:prstGeom>
        </p:spPr>
      </p:pic>
      <p:sp>
        <p:nvSpPr>
          <p:cNvPr id="9" name="Freeform 56">
            <a:extLst>
              <a:ext uri="{FF2B5EF4-FFF2-40B4-BE49-F238E27FC236}">
                <a16:creationId xmlns:a16="http://schemas.microsoft.com/office/drawing/2014/main" id="{184FA803-B7D9-4F89-84C8-569E4E7DBE1F}"/>
              </a:ext>
            </a:extLst>
          </p:cNvPr>
          <p:cNvSpPr/>
          <p:nvPr userDrawn="1"/>
        </p:nvSpPr>
        <p:spPr>
          <a:xfrm>
            <a:off x="377884" y="768140"/>
            <a:ext cx="5075496" cy="2980188"/>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2" name="Picture 11" descr="A hand holding a light bulb&#10;&#10;Description automatically generated with medium confidence">
            <a:extLst>
              <a:ext uri="{FF2B5EF4-FFF2-40B4-BE49-F238E27FC236}">
                <a16:creationId xmlns:a16="http://schemas.microsoft.com/office/drawing/2014/main" id="{6438C638-C11C-4779-9356-2052B9BAC0C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9224" t="24592"/>
          <a:stretch/>
        </p:blipFill>
        <p:spPr>
          <a:xfrm>
            <a:off x="3568017" y="1686560"/>
            <a:ext cx="8633509" cy="5171440"/>
          </a:xfrm>
          <a:prstGeom prst="rect">
            <a:avLst/>
          </a:prstGeom>
        </p:spPr>
      </p:pic>
      <p:sp>
        <p:nvSpPr>
          <p:cNvPr id="15" name="TextBox 14">
            <a:extLst>
              <a:ext uri="{FF2B5EF4-FFF2-40B4-BE49-F238E27FC236}">
                <a16:creationId xmlns:a16="http://schemas.microsoft.com/office/drawing/2014/main" id="{8BC07299-78F8-4244-87FA-56ECF175F6DB}"/>
              </a:ext>
            </a:extLst>
          </p:cNvPr>
          <p:cNvSpPr txBox="1"/>
          <p:nvPr userDrawn="1"/>
        </p:nvSpPr>
        <p:spPr>
          <a:xfrm>
            <a:off x="461984" y="1596098"/>
            <a:ext cx="4910672" cy="1271695"/>
          </a:xfrm>
          <a:prstGeom prst="rect">
            <a:avLst/>
          </a:prstGeom>
          <a:noFill/>
        </p:spPr>
        <p:txBody>
          <a:bodyPr wrap="square">
            <a:spAutoFit/>
          </a:bodyPr>
          <a:lstStyle/>
          <a:p>
            <a:pPr marL="0" marR="0" lvl="0" indent="0" algn="l" defTabSz="913943" rtl="0" eaLnBrk="1" fontAlgn="auto" latinLnBrk="0" hangingPunct="1">
              <a:lnSpc>
                <a:spcPct val="110000"/>
              </a:lnSpc>
              <a:spcBef>
                <a:spcPts val="200"/>
              </a:spcBef>
              <a:spcAft>
                <a:spcPts val="0"/>
              </a:spcAft>
              <a:buClrTx/>
              <a:buSzTx/>
              <a:buFontTx/>
              <a:buNone/>
              <a:tabLst/>
              <a:defRPr/>
            </a:pPr>
            <a:r>
              <a:rPr kumimoji="0" lang="en-GB" sz="2800" b="1" i="0" u="none" strike="noStrike" kern="1200" cap="none" spc="0" normalizeH="0" baseline="0" noProof="0" dirty="0">
                <a:ln>
                  <a:noFill/>
                </a:ln>
                <a:solidFill>
                  <a:schemeClr val="bg2">
                    <a:lumMod val="85000"/>
                    <a:lumOff val="15000"/>
                  </a:schemeClr>
                </a:solidFill>
                <a:effectLst/>
                <a:uLnTx/>
                <a:uFillTx/>
                <a:latin typeface="EYInterstate Light" panose="02000506000000020004" pitchFamily="2" charset="0"/>
                <a:ea typeface="+mj-ea"/>
                <a:cs typeface="Arial" pitchFamily="34" charset="0"/>
              </a:rPr>
              <a:t>Tax market trends</a:t>
            </a:r>
          </a:p>
          <a:p>
            <a:pPr marL="0" marR="0" lvl="0" indent="0" algn="l" defTabSz="913943" rtl="0" eaLnBrk="1" fontAlgn="auto" latinLnBrk="0" hangingPunct="1">
              <a:lnSpc>
                <a:spcPct val="110000"/>
              </a:lnSpc>
              <a:spcBef>
                <a:spcPts val="200"/>
              </a:spcBef>
              <a:spcAft>
                <a:spcPts val="0"/>
              </a:spcAft>
              <a:buClrTx/>
              <a:buSzTx/>
              <a:buFontTx/>
              <a:buNone/>
              <a:tabLst/>
              <a:defRPr/>
            </a:pPr>
            <a:endParaRPr kumimoji="0" lang="en-GB" sz="2000" b="1" i="1" u="none" strike="noStrike" kern="1200" cap="none" spc="0" normalizeH="0" baseline="0" noProof="0" dirty="0">
              <a:ln>
                <a:noFill/>
              </a:ln>
              <a:solidFill>
                <a:schemeClr val="bg2">
                  <a:lumMod val="85000"/>
                  <a:lumOff val="15000"/>
                </a:schemeClr>
              </a:solidFill>
              <a:effectLst/>
              <a:uLnTx/>
              <a:uFillTx/>
              <a:latin typeface="EYInterstate Light" panose="02000506000000020004" pitchFamily="2" charset="0"/>
              <a:ea typeface="+mj-ea"/>
              <a:cs typeface="Arial" pitchFamily="34" charset="0"/>
            </a:endParaRPr>
          </a:p>
          <a:p>
            <a:pPr marL="0" marR="0" lvl="0" indent="0" algn="l" defTabSz="913943" rtl="0" eaLnBrk="1" fontAlgn="auto" latinLnBrk="0" hangingPunct="1">
              <a:lnSpc>
                <a:spcPct val="110000"/>
              </a:lnSpc>
              <a:spcBef>
                <a:spcPts val="200"/>
              </a:spcBef>
              <a:spcAft>
                <a:spcPts val="0"/>
              </a:spcAft>
              <a:buClrTx/>
              <a:buSzTx/>
              <a:buFontTx/>
              <a:buNone/>
              <a:tabLst/>
              <a:defRPr/>
            </a:pPr>
            <a:r>
              <a:rPr kumimoji="0" lang="en-GB" sz="2000" b="1" i="1" u="none" strike="noStrike" kern="1200" cap="none" spc="0" normalizeH="0" baseline="0" noProof="0" dirty="0">
                <a:ln>
                  <a:noFill/>
                </a:ln>
                <a:solidFill>
                  <a:schemeClr val="bg2">
                    <a:lumMod val="85000"/>
                    <a:lumOff val="15000"/>
                  </a:schemeClr>
                </a:solidFill>
                <a:effectLst/>
                <a:uLnTx/>
                <a:uFillTx/>
                <a:latin typeface="EYInterstate Light" panose="02000506000000020004" pitchFamily="2" charset="0"/>
                <a:ea typeface="+mj-ea"/>
                <a:cs typeface="Arial" pitchFamily="34" charset="0"/>
              </a:rPr>
              <a:t>EY Knowledge overview</a:t>
            </a:r>
            <a:endParaRPr kumimoji="0" lang="en-GB" sz="1800" b="0" i="1" u="none" strike="noStrike" kern="1200" cap="none" spc="0" normalizeH="0" baseline="0" noProof="0" dirty="0">
              <a:ln>
                <a:noFill/>
              </a:ln>
              <a:solidFill>
                <a:schemeClr val="bg2">
                  <a:lumMod val="75000"/>
                  <a:lumOff val="25000"/>
                </a:schemeClr>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259312461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22" name="Picture 21" descr="A silhouette of a person jumping over a cliff&#10;&#10;Description automatically generated">
            <a:extLst>
              <a:ext uri="{FF2B5EF4-FFF2-40B4-BE49-F238E27FC236}">
                <a16:creationId xmlns:a16="http://schemas.microsoft.com/office/drawing/2014/main" id="{576C3852-F156-8BD8-44E4-2C4A3D25D97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2230"/>
          <a:stretch/>
        </p:blipFill>
        <p:spPr>
          <a:xfrm>
            <a:off x="0" y="0"/>
            <a:ext cx="12198350" cy="6858000"/>
          </a:xfrm>
          <a:prstGeom prst="rect">
            <a:avLst/>
          </a:prstGeom>
        </p:spPr>
      </p:pic>
      <p:sp>
        <p:nvSpPr>
          <p:cNvPr id="23" name="Rectangle 22">
            <a:extLst>
              <a:ext uri="{FF2B5EF4-FFF2-40B4-BE49-F238E27FC236}">
                <a16:creationId xmlns:a16="http://schemas.microsoft.com/office/drawing/2014/main" id="{93F0427C-69F1-FFCC-744E-C78CF7C20839}"/>
              </a:ext>
            </a:extLst>
          </p:cNvPr>
          <p:cNvSpPr/>
          <p:nvPr userDrawn="1"/>
        </p:nvSpPr>
        <p:spPr>
          <a:xfrm>
            <a:off x="127" y="0"/>
            <a:ext cx="12198096" cy="6858000"/>
          </a:xfrm>
          <a:prstGeom prst="rect">
            <a:avLst/>
          </a:prstGeom>
          <a:solidFill>
            <a:srgbClr val="2E2E3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883595" y="209230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8" name="Text Placeholder 17">
            <a:extLst>
              <a:ext uri="{FF2B5EF4-FFF2-40B4-BE49-F238E27FC236}">
                <a16:creationId xmlns:a16="http://schemas.microsoft.com/office/drawing/2014/main" id="{FE18D0F3-28C3-97C2-19B0-54FF6CDF7AC8}"/>
              </a:ext>
            </a:extLst>
          </p:cNvPr>
          <p:cNvSpPr>
            <a:spLocks noGrp="1"/>
          </p:cNvSpPr>
          <p:nvPr>
            <p:ph type="body" sz="quarter" idx="10"/>
          </p:nvPr>
        </p:nvSpPr>
        <p:spPr>
          <a:xfrm>
            <a:off x="883595" y="3760581"/>
            <a:ext cx="4005072" cy="490416"/>
          </a:xfrm>
          <a:prstGeom prst="rect">
            <a:avLst/>
          </a:prstGeom>
        </p:spPr>
        <p:txBody>
          <a:bodyPr/>
          <a:lstStyle>
            <a:lvl1pPr marL="0" indent="0" algn="l" defTabSz="913486" rtl="0" eaLnBrk="1" latinLnBrk="0" hangingPunct="1">
              <a:lnSpc>
                <a:spcPct val="85000"/>
              </a:lnSpc>
              <a:spcBef>
                <a:spcPct val="0"/>
              </a:spcBef>
              <a:buNone/>
              <a:defRPr lang="en-US" sz="1600" b="0" kern="1200" dirty="0" smtClean="0">
                <a:solidFill>
                  <a:schemeClr val="bg1"/>
                </a:solidFill>
                <a:latin typeface="EYInterstate" panose="02000503020000020004" pitchFamily="2" charset="0"/>
                <a:ea typeface="+mj-ea"/>
                <a:cs typeface="Arial" pitchFamily="34" charset="0"/>
              </a:defRPr>
            </a:lvl1pPr>
            <a:lvl2pPr marL="356259" indent="0" algn="l" defTabSz="913486" rtl="0" eaLnBrk="1" latinLnBrk="0" hangingPunct="1">
              <a:lnSpc>
                <a:spcPct val="85000"/>
              </a:lnSpc>
              <a:spcBef>
                <a:spcPct val="0"/>
              </a:spcBef>
              <a:buNone/>
              <a:defRPr lang="en-US" sz="3000" b="0" kern="1200" dirty="0" smtClean="0">
                <a:solidFill>
                  <a:schemeClr val="bg1"/>
                </a:solidFill>
                <a:latin typeface="EYInterstate Light" panose="02000506000000020004" pitchFamily="2" charset="0"/>
                <a:ea typeface="+mj-ea"/>
                <a:cs typeface="Arial" pitchFamily="34" charset="0"/>
              </a:defRPr>
            </a:lvl2pPr>
            <a:lvl3pPr marL="712518" indent="0" algn="l" defTabSz="913486" rtl="0" eaLnBrk="1" latinLnBrk="0" hangingPunct="1">
              <a:lnSpc>
                <a:spcPct val="85000"/>
              </a:lnSpc>
              <a:spcBef>
                <a:spcPct val="0"/>
              </a:spcBef>
              <a:buNone/>
              <a:defRPr lang="en-US" sz="3000" b="0" kern="1200" dirty="0" smtClean="0">
                <a:solidFill>
                  <a:schemeClr val="bg1"/>
                </a:solidFill>
                <a:latin typeface="EYInterstate Light" panose="02000506000000020004" pitchFamily="2" charset="0"/>
                <a:ea typeface="+mj-ea"/>
                <a:cs typeface="Arial" pitchFamily="34" charset="0"/>
              </a:defRPr>
            </a:lvl3pPr>
            <a:lvl4pPr marL="1068778" indent="0" algn="l" defTabSz="913486" rtl="0" eaLnBrk="1" latinLnBrk="0" hangingPunct="1">
              <a:lnSpc>
                <a:spcPct val="85000"/>
              </a:lnSpc>
              <a:spcBef>
                <a:spcPct val="0"/>
              </a:spcBef>
              <a:buNone/>
              <a:defRPr lang="en-US" sz="3000" b="0" kern="1200" dirty="0" smtClean="0">
                <a:solidFill>
                  <a:schemeClr val="bg1"/>
                </a:solidFill>
                <a:latin typeface="EYInterstate Light" panose="02000506000000020004" pitchFamily="2" charset="0"/>
                <a:ea typeface="+mj-ea"/>
                <a:cs typeface="Arial" pitchFamily="34" charset="0"/>
              </a:defRPr>
            </a:lvl4pPr>
            <a:lvl5pPr marL="1425037" indent="0" algn="l" defTabSz="913486" rtl="0" eaLnBrk="1" latinLnBrk="0" hangingPunct="1">
              <a:lnSpc>
                <a:spcPct val="85000"/>
              </a:lnSpc>
              <a:spcBef>
                <a:spcPct val="0"/>
              </a:spcBef>
              <a:buNone/>
              <a:defRPr lang="en-IN" sz="3000" b="0" kern="1200" dirty="0">
                <a:solidFill>
                  <a:schemeClr val="bg1"/>
                </a:solidFill>
                <a:latin typeface="EYInterstate Light" panose="02000506000000020004" pitchFamily="2" charset="0"/>
                <a:ea typeface="+mj-ea"/>
                <a:cs typeface="Arial" pitchFamily="34" charset="0"/>
              </a:defRPr>
            </a:lvl5pPr>
          </a:lstStyle>
          <a:p>
            <a:pPr lvl="0"/>
            <a:r>
              <a:rPr lang="en-US" dirty="0"/>
              <a:t>Click to edit Master text</a:t>
            </a:r>
            <a:endParaRPr lang="en-IN" dirty="0"/>
          </a:p>
        </p:txBody>
      </p:sp>
    </p:spTree>
    <p:extLst>
      <p:ext uri="{BB962C8B-B14F-4D97-AF65-F5344CB8AC3E}">
        <p14:creationId xmlns:p14="http://schemas.microsoft.com/office/powerpoint/2010/main" val="301408435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3.xml"/><Relationship Id="rId5" Type="http://schemas.openxmlformats.org/officeDocument/2006/relationships/image" Target="../media/image2.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heme" Target="../theme/theme4.xml"/><Relationship Id="rId1" Type="http://schemas.openxmlformats.org/officeDocument/2006/relationships/slideLayout" Target="../slideLayouts/slideLayout6.xml"/><Relationship Id="rId5" Type="http://schemas.openxmlformats.org/officeDocument/2006/relationships/image" Target="../media/image2.emf"/><Relationship Id="rId4"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11.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5.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4.emf"/><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28518C-2936-4C78-9CD9-E104ACD6316F}"/>
              </a:ext>
            </a:extLst>
          </p:cNvPr>
          <p:cNvGraphicFramePr>
            <a:graphicFrameLocks noChangeAspect="1"/>
          </p:cNvGraphicFramePr>
          <p:nvPr userDrawn="1">
            <p:custDataLst>
              <p:tags r:id="rId4"/>
            </p:custDataLst>
            <p:extLst>
              <p:ext uri="{D42A27DB-BD31-4B8C-83A1-F6EECF244321}">
                <p14:modId xmlns:p14="http://schemas.microsoft.com/office/powerpoint/2010/main" val="234493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6" imgH="396" progId="TCLayout.ActiveDocument.1">
                  <p:embed/>
                </p:oleObj>
              </mc:Choice>
              <mc:Fallback>
                <p:oleObj name="think-cell Slide" r:id="rId6" imgW="396" imgH="396" progId="TCLayout.ActiveDocument.1">
                  <p:embed/>
                  <p:pic>
                    <p:nvPicPr>
                      <p:cNvPr id="5" name="Object 4" hidden="1">
                        <a:extLst>
                          <a:ext uri="{FF2B5EF4-FFF2-40B4-BE49-F238E27FC236}">
                            <a16:creationId xmlns:a16="http://schemas.microsoft.com/office/drawing/2014/main" id="{D128518C-2936-4C78-9CD9-E104ACD631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6EE1B85-16CD-42E1-A90C-FCA9355EB677}"/>
              </a:ext>
            </a:extLst>
          </p:cNvPr>
          <p:cNvSpPr/>
          <p:nvPr userDrawn="1">
            <p:custDataLst>
              <p:tags r:id="rId5"/>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0" name="Group 4">
            <a:extLst>
              <a:ext uri="{FF2B5EF4-FFF2-40B4-BE49-F238E27FC236}">
                <a16:creationId xmlns:a16="http://schemas.microsoft.com/office/drawing/2014/main" id="{BFF60572-802C-4024-85DA-0BC943711B42}"/>
              </a:ext>
            </a:extLst>
          </p:cNvPr>
          <p:cNvGrpSpPr>
            <a:grpSpLocks noChangeAspect="1"/>
          </p:cNvGrpSpPr>
          <p:nvPr userDrawn="1"/>
        </p:nvGrpSpPr>
        <p:grpSpPr bwMode="auto">
          <a:xfrm>
            <a:off x="11287125" y="6356350"/>
            <a:ext cx="303213" cy="311150"/>
            <a:chOff x="7110" y="4004"/>
            <a:chExt cx="191" cy="196"/>
          </a:xfrm>
        </p:grpSpPr>
        <p:sp>
          <p:nvSpPr>
            <p:cNvPr id="13" name="Freeform 5">
              <a:extLst>
                <a:ext uri="{FF2B5EF4-FFF2-40B4-BE49-F238E27FC236}">
                  <a16:creationId xmlns:a16="http://schemas.microsoft.com/office/drawing/2014/main" id="{B0AA35AF-E6B3-42D1-92C3-360C591E930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5" name="Freeform 6">
              <a:extLst>
                <a:ext uri="{FF2B5EF4-FFF2-40B4-BE49-F238E27FC236}">
                  <a16:creationId xmlns:a16="http://schemas.microsoft.com/office/drawing/2014/main" id="{ED1CDBA0-B6F5-4837-A69E-5467606621D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6" name="Freeform 7">
              <a:extLst>
                <a:ext uri="{FF2B5EF4-FFF2-40B4-BE49-F238E27FC236}">
                  <a16:creationId xmlns:a16="http://schemas.microsoft.com/office/drawing/2014/main" id="{552B16CB-DAAB-4AA1-8335-479B6D68394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
        <p:nvSpPr>
          <p:cNvPr id="17" name="Footer Placeholder 2">
            <a:extLst>
              <a:ext uri="{FF2B5EF4-FFF2-40B4-BE49-F238E27FC236}">
                <a16:creationId xmlns:a16="http://schemas.microsoft.com/office/drawing/2014/main" id="{C81FFD8D-B001-4477-B2F1-8F05765278EA}"/>
              </a:ext>
            </a:extLst>
          </p:cNvPr>
          <p:cNvSpPr txBox="1">
            <a:spLocks/>
          </p:cNvSpPr>
          <p:nvPr userDrawn="1"/>
        </p:nvSpPr>
        <p:spPr>
          <a:xfrm>
            <a:off x="3419903" y="6501530"/>
            <a:ext cx="5358544" cy="306629"/>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1000" dirty="0">
                <a:latin typeface="EYInterstate Light" panose="02000506000000020004" pitchFamily="2" charset="0"/>
              </a:rPr>
              <a:t>EY member firms do not practice law where not permitted by local law or regulation. </a:t>
            </a:r>
            <a:br>
              <a:rPr lang="en-US" sz="1000" dirty="0">
                <a:latin typeface="EYInterstate Light" panose="02000506000000020004" pitchFamily="2" charset="0"/>
              </a:rPr>
            </a:br>
            <a:r>
              <a:rPr lang="en-US" sz="1000" dirty="0">
                <a:latin typeface="EYInterstate Light" panose="02000506000000020004" pitchFamily="2" charset="0"/>
              </a:rPr>
              <a:t>Ernst &amp; Young LLP (US) does not practice law or offer legal advice.</a:t>
            </a:r>
            <a:endParaRPr lang="en-IN" sz="1000" dirty="0">
              <a:latin typeface="EYInterstate Light" panose="02000506000000020004" pitchFamily="2" charset="0"/>
            </a:endParaRPr>
          </a:p>
        </p:txBody>
      </p:sp>
    </p:spTree>
    <p:extLst>
      <p:ext uri="{BB962C8B-B14F-4D97-AF65-F5344CB8AC3E}">
        <p14:creationId xmlns:p14="http://schemas.microsoft.com/office/powerpoint/2010/main" val="3378587102"/>
      </p:ext>
    </p:extLst>
  </p:cSld>
  <p:clrMap bg1="lt1" tx1="dk1" bg2="lt2" tx2="dk2" accent1="accent1" accent2="accent2" accent3="accent3" accent4="accent4" accent5="accent5" accent6="accent6" hlink="hlink" folHlink="folHlink"/>
  <p:sldLayoutIdLst>
    <p:sldLayoutId id="2147484012" r:id="rId1"/>
    <p:sldLayoutId id="2147484044" r:id="rId2"/>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7A5D0D-B527-4F3F-9B32-B18ACDE41606}"/>
              </a:ext>
            </a:extLst>
          </p:cNvPr>
          <p:cNvGraphicFramePr>
            <a:graphicFrameLocks noChangeAspect="1"/>
          </p:cNvGraphicFramePr>
          <p:nvPr userDrawn="1">
            <p:custDataLst>
              <p:tags r:id="rId3"/>
            </p:custDataLst>
            <p:extLst>
              <p:ext uri="{D42A27DB-BD31-4B8C-83A1-F6EECF244321}">
                <p14:modId xmlns:p14="http://schemas.microsoft.com/office/powerpoint/2010/main" val="1939785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587A5D0D-B527-4F3F-9B32-B18ACDE416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EYInterstate Light" panose="02000506000000020004" pitchFamily="2" charset="0"/>
              </a:rPr>
              <a:t>Page </a:t>
            </a:r>
            <a:fld id="{D5B76411-544C-4F9A-8EDE-9EEB2BD21F95}" type="slidenum">
              <a:rPr lang="en-IN" smtClean="0">
                <a:latin typeface="EYInterstate Light" panose="02000506000000020004" pitchFamily="2" charset="0"/>
              </a:rPr>
              <a:t>‹#›</a:t>
            </a:fld>
            <a:endParaRPr dirty="0">
              <a:latin typeface="EYInterstate Light" panose="02000506000000020004" pitchFamily="2" charset="0"/>
            </a:endParaRPr>
          </a:p>
        </p:txBody>
      </p:sp>
      <p:sp>
        <p:nvSpPr>
          <p:cNvPr id="4" name="Footer Placeholder 2">
            <a:extLst>
              <a:ext uri="{FF2B5EF4-FFF2-40B4-BE49-F238E27FC236}">
                <a16:creationId xmlns:a16="http://schemas.microsoft.com/office/drawing/2014/main" id="{7754DD21-DF67-9B5D-8FC0-4C9D183B065B}"/>
              </a:ext>
            </a:extLst>
          </p:cNvPr>
          <p:cNvSpPr txBox="1">
            <a:spLocks/>
          </p:cNvSpPr>
          <p:nvPr userDrawn="1"/>
        </p:nvSpPr>
        <p:spPr>
          <a:xfrm>
            <a:off x="3419903" y="6501530"/>
            <a:ext cx="5358544" cy="306629"/>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1000" dirty="0">
                <a:latin typeface="EYInterstate Light" panose="02000506000000020004" pitchFamily="2" charset="0"/>
              </a:rPr>
              <a:t>EY member firms do not practice law where not permitted by local law or regulation. </a:t>
            </a:r>
            <a:br>
              <a:rPr lang="en-US" sz="1000" dirty="0">
                <a:latin typeface="EYInterstate Light" panose="02000506000000020004" pitchFamily="2" charset="0"/>
              </a:rPr>
            </a:br>
            <a:r>
              <a:rPr lang="en-US" sz="1000" dirty="0">
                <a:latin typeface="EYInterstate Light" panose="02000506000000020004" pitchFamily="2" charset="0"/>
              </a:rPr>
              <a:t>Ernst &amp; Young LLP (US) does not practice law or offer legal advice.</a:t>
            </a:r>
            <a:endParaRPr lang="en-IN" sz="1000" dirty="0">
              <a:latin typeface="EYInterstate Light" panose="02000506000000020004" pitchFamily="2" charset="0"/>
            </a:endParaRPr>
          </a:p>
        </p:txBody>
      </p:sp>
    </p:spTree>
    <p:extLst>
      <p:ext uri="{BB962C8B-B14F-4D97-AF65-F5344CB8AC3E}">
        <p14:creationId xmlns:p14="http://schemas.microsoft.com/office/powerpoint/2010/main" val="3188452323"/>
      </p:ext>
    </p:extLst>
  </p:cSld>
  <p:clrMap bg1="lt1" tx1="dk1" bg2="lt2" tx2="dk2" accent1="accent1" accent2="accent2" accent3="accent3" accent4="accent4" accent5="accent5" accent6="accent6" hlink="hlink" folHlink="folHlink"/>
  <p:sldLayoutIdLst>
    <p:sldLayoutId id="2147484400" r:id="rId1"/>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3">
          <p15:clr>
            <a:srgbClr val="F26B43"/>
          </p15:clr>
        </p15:guide>
        <p15:guide id="2" pos="3842">
          <p15:clr>
            <a:srgbClr val="F26B43"/>
          </p15:clr>
        </p15:guide>
        <p15:guide id="3" orient="horz" pos="699">
          <p15:clr>
            <a:srgbClr val="F26B43"/>
          </p15:clr>
        </p15:guide>
        <p15:guide id="4" pos="378">
          <p15:clr>
            <a:srgbClr val="F26B43"/>
          </p15:clr>
        </p15:guide>
        <p15:guide id="5" pos="7318">
          <p15:clr>
            <a:srgbClr val="F26B43"/>
          </p15:clr>
        </p15:guide>
        <p15:guide id="6"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7A5D0D-B527-4F3F-9B32-B18ACDE41606}"/>
              </a:ext>
            </a:extLst>
          </p:cNvPr>
          <p:cNvGraphicFramePr>
            <a:graphicFrameLocks noChangeAspect="1"/>
          </p:cNvGraphicFramePr>
          <p:nvPr userDrawn="1">
            <p:custDataLst>
              <p:tags r:id="rId4"/>
            </p:custDataLst>
            <p:extLst>
              <p:ext uri="{D42A27DB-BD31-4B8C-83A1-F6EECF244321}">
                <p14:modId xmlns:p14="http://schemas.microsoft.com/office/powerpoint/2010/main" val="1655727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587A5D0D-B527-4F3F-9B32-B18ACDE416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EYInterstate Light" panose="02000506000000020004" pitchFamily="2" charset="0"/>
              </a:rPr>
              <a:t>Page </a:t>
            </a:r>
            <a:fld id="{D5B76411-544C-4F9A-8EDE-9EEB2BD21F95}" type="slidenum">
              <a:rPr lang="en-IN" smtClean="0">
                <a:latin typeface="EYInterstate Light" panose="02000506000000020004" pitchFamily="2" charset="0"/>
              </a:rPr>
              <a:t>‹#›</a:t>
            </a:fld>
            <a:endParaRPr dirty="0">
              <a:latin typeface="EYInterstate Light" panose="02000506000000020004" pitchFamily="2" charset="0"/>
            </a:endParaRPr>
          </a:p>
        </p:txBody>
      </p:sp>
      <p:sp>
        <p:nvSpPr>
          <p:cNvPr id="4" name="Footer Placeholder 2">
            <a:extLst>
              <a:ext uri="{FF2B5EF4-FFF2-40B4-BE49-F238E27FC236}">
                <a16:creationId xmlns:a16="http://schemas.microsoft.com/office/drawing/2014/main" id="{8BBC579F-0672-252E-2835-A9A1CDB706D9}"/>
              </a:ext>
            </a:extLst>
          </p:cNvPr>
          <p:cNvSpPr txBox="1">
            <a:spLocks/>
          </p:cNvSpPr>
          <p:nvPr userDrawn="1"/>
        </p:nvSpPr>
        <p:spPr>
          <a:xfrm>
            <a:off x="3419903" y="6501530"/>
            <a:ext cx="5358544" cy="306629"/>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1000" dirty="0">
                <a:latin typeface="EYInterstate Light" panose="02000506000000020004" pitchFamily="2" charset="0"/>
              </a:rPr>
              <a:t>EY member firms do not practice law where not permitted by local law or regulation. </a:t>
            </a:r>
            <a:br>
              <a:rPr lang="en-US" sz="1000" dirty="0">
                <a:latin typeface="EYInterstate Light" panose="02000506000000020004" pitchFamily="2" charset="0"/>
              </a:rPr>
            </a:br>
            <a:r>
              <a:rPr lang="en-US" sz="1000" dirty="0">
                <a:latin typeface="EYInterstate Light" panose="02000506000000020004" pitchFamily="2" charset="0"/>
              </a:rPr>
              <a:t>Ernst &amp; Young LLP (US) does not practice law or offer legal advice.</a:t>
            </a:r>
            <a:endParaRPr lang="en-IN" sz="1000" dirty="0">
              <a:latin typeface="EYInterstate Light" panose="02000506000000020004" pitchFamily="2" charset="0"/>
            </a:endParaRPr>
          </a:p>
        </p:txBody>
      </p:sp>
    </p:spTree>
    <p:extLst>
      <p:ext uri="{BB962C8B-B14F-4D97-AF65-F5344CB8AC3E}">
        <p14:creationId xmlns:p14="http://schemas.microsoft.com/office/powerpoint/2010/main" val="3734266298"/>
      </p:ext>
    </p:extLst>
  </p:cSld>
  <p:clrMap bg1="lt1" tx1="dk1" bg2="lt2" tx2="dk2" accent1="accent1" accent2="accent2" accent3="accent3" accent4="accent4" accent5="accent5" accent6="accent6" hlink="hlink" folHlink="folHlink"/>
  <p:sldLayoutIdLst>
    <p:sldLayoutId id="2147484597" r:id="rId1"/>
    <p:sldLayoutId id="2147484618" r:id="rId2"/>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3">
          <p15:clr>
            <a:srgbClr val="F26B43"/>
          </p15:clr>
        </p15:guide>
        <p15:guide id="2" pos="3842">
          <p15:clr>
            <a:srgbClr val="F26B43"/>
          </p15:clr>
        </p15:guide>
        <p15:guide id="3" orient="horz" pos="699">
          <p15:clr>
            <a:srgbClr val="F26B43"/>
          </p15:clr>
        </p15:guide>
        <p15:guide id="4" pos="378">
          <p15:clr>
            <a:srgbClr val="F26B43"/>
          </p15:clr>
        </p15:guide>
        <p15:guide id="5" pos="7318">
          <p15:clr>
            <a:srgbClr val="F26B43"/>
          </p15:clr>
        </p15:guide>
        <p15:guide id="6"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7A5D0D-B527-4F3F-9B32-B18ACDE41606}"/>
              </a:ext>
            </a:extLst>
          </p:cNvPr>
          <p:cNvGraphicFramePr>
            <a:graphicFrameLocks noChangeAspect="1"/>
          </p:cNvGraphicFramePr>
          <p:nvPr userDrawn="1">
            <p:custDataLst>
              <p:tags r:id="rId3"/>
            </p:custDataLst>
            <p:extLst>
              <p:ext uri="{D42A27DB-BD31-4B8C-83A1-F6EECF244321}">
                <p14:modId xmlns:p14="http://schemas.microsoft.com/office/powerpoint/2010/main" val="335630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587A5D0D-B527-4F3F-9B32-B18ACDE416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EYInterstate Light" panose="02000506000000020004" pitchFamily="2" charset="0"/>
              </a:endParaRPr>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latin typeface="EYInterstate Light" panose="02000506000000020004" pitchFamily="2" charset="0"/>
              </a:rPr>
              <a:t>Page </a:t>
            </a:r>
            <a:fld id="{D5B76411-544C-4F9A-8EDE-9EEB2BD21F95}" type="slidenum">
              <a:rPr lang="en-IN" smtClean="0">
                <a:latin typeface="EYInterstate Light" panose="02000506000000020004" pitchFamily="2" charset="0"/>
              </a:rPr>
              <a:t>‹#›</a:t>
            </a:fld>
            <a:endParaRPr dirty="0">
              <a:latin typeface="EYInterstate Light" panose="02000506000000020004" pitchFamily="2" charset="0"/>
            </a:endParaRPr>
          </a:p>
        </p:txBody>
      </p:sp>
      <p:sp>
        <p:nvSpPr>
          <p:cNvPr id="4" name="Footer Placeholder 2">
            <a:extLst>
              <a:ext uri="{FF2B5EF4-FFF2-40B4-BE49-F238E27FC236}">
                <a16:creationId xmlns:a16="http://schemas.microsoft.com/office/drawing/2014/main" id="{47D5FB39-3CAF-EF48-AA73-3ECE91A2E646}"/>
              </a:ext>
            </a:extLst>
          </p:cNvPr>
          <p:cNvSpPr txBox="1">
            <a:spLocks/>
          </p:cNvSpPr>
          <p:nvPr userDrawn="1"/>
        </p:nvSpPr>
        <p:spPr>
          <a:xfrm>
            <a:off x="3419903" y="6501530"/>
            <a:ext cx="5358544" cy="306629"/>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1000" dirty="0">
                <a:latin typeface="EYInterstate Light" panose="02000506000000020004" pitchFamily="2" charset="0"/>
              </a:rPr>
              <a:t>EY member firms do not practice law where not permitted by local law or regulation. </a:t>
            </a:r>
            <a:br>
              <a:rPr lang="en-US" sz="1000" dirty="0">
                <a:latin typeface="EYInterstate Light" panose="02000506000000020004" pitchFamily="2" charset="0"/>
              </a:rPr>
            </a:br>
            <a:r>
              <a:rPr lang="en-US" sz="1000" dirty="0">
                <a:latin typeface="EYInterstate Light" panose="02000506000000020004" pitchFamily="2" charset="0"/>
              </a:rPr>
              <a:t>Ernst &amp; Young LLP (US) does not practice law or offer legal advice.</a:t>
            </a:r>
            <a:endParaRPr lang="en-IN" sz="1000" dirty="0">
              <a:latin typeface="EYInterstate Light" panose="02000506000000020004" pitchFamily="2" charset="0"/>
            </a:endParaRPr>
          </a:p>
        </p:txBody>
      </p:sp>
    </p:spTree>
    <p:extLst>
      <p:ext uri="{BB962C8B-B14F-4D97-AF65-F5344CB8AC3E}">
        <p14:creationId xmlns:p14="http://schemas.microsoft.com/office/powerpoint/2010/main" val="1599874260"/>
      </p:ext>
    </p:extLst>
  </p:cSld>
  <p:clrMap bg1="lt1" tx1="dk1" bg2="lt2" tx2="dk2" accent1="accent1" accent2="accent2" accent3="accent3" accent4="accent4" accent5="accent5" accent6="accent6" hlink="hlink" folHlink="folHlink"/>
  <p:sldLayoutIdLst>
    <p:sldLayoutId id="2147484725" r:id="rId1"/>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3">
          <p15:clr>
            <a:srgbClr val="F26B43"/>
          </p15:clr>
        </p15:guide>
        <p15:guide id="2" pos="3842">
          <p15:clr>
            <a:srgbClr val="F26B43"/>
          </p15:clr>
        </p15:guide>
        <p15:guide id="3" orient="horz" pos="699">
          <p15:clr>
            <a:srgbClr val="F26B43"/>
          </p15:clr>
        </p15:guide>
        <p15:guide id="4" pos="378">
          <p15:clr>
            <a:srgbClr val="F26B43"/>
          </p15:clr>
        </p15:guide>
        <p15:guide id="5" pos="7318">
          <p15:clr>
            <a:srgbClr val="F26B43"/>
          </p15:clr>
        </p15:guide>
        <p15:guide id="6"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06A5F6-0560-4E06-AD6D-60005558A597}"/>
              </a:ext>
            </a:extLst>
          </p:cNvPr>
          <p:cNvGraphicFramePr>
            <a:graphicFrameLocks noChangeAspect="1"/>
          </p:cNvGraphicFramePr>
          <p:nvPr userDrawn="1">
            <p:custDataLst>
              <p:tags r:id="rId13"/>
            </p:custDataLst>
            <p:extLst>
              <p:ext uri="{D42A27DB-BD31-4B8C-83A1-F6EECF244321}">
                <p14:modId xmlns:p14="http://schemas.microsoft.com/office/powerpoint/2010/main" val="232988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0" imgH="409" progId="TCLayout.ActiveDocument.1">
                  <p:embed/>
                </p:oleObj>
              </mc:Choice>
              <mc:Fallback>
                <p:oleObj name="think-cell Slide" r:id="rId14" imgW="410" imgH="409" progId="TCLayout.ActiveDocument.1">
                  <p:embed/>
                  <p:pic>
                    <p:nvPicPr>
                      <p:cNvPr id="5" name="Object 4" hidden="1">
                        <a:extLst>
                          <a:ext uri="{FF2B5EF4-FFF2-40B4-BE49-F238E27FC236}">
                            <a16:creationId xmlns:a16="http://schemas.microsoft.com/office/drawing/2014/main" id="{6706A5F6-0560-4E06-AD6D-60005558A59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20" y="294200"/>
            <a:ext cx="10978515" cy="757360"/>
          </a:xfrm>
          <a:prstGeom prst="rect">
            <a:avLst/>
          </a:prstGeom>
        </p:spPr>
        <p:txBody>
          <a:bodyPr vert="horz" lIns="0" tIns="0" rIns="0" bIns="0" rtlCol="0" anchor="t" anchorCtr="0">
            <a:noAutofit/>
          </a:bodyPr>
          <a:lstStyle/>
          <a:p>
            <a:r>
              <a:rPr lang="en-US" dirty="0"/>
              <a:t>Click to edit Master title style</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7"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65850" y="6487500"/>
            <a:ext cx="582085" cy="180000"/>
          </a:xfrm>
          <a:prstGeom prst="rect">
            <a:avLst/>
          </a:prstGeom>
        </p:spPr>
        <p:txBody>
          <a:bodyPr l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
        <p:nvSpPr>
          <p:cNvPr id="8" name="Rectangle 7">
            <a:extLst>
              <a:ext uri="{FF2B5EF4-FFF2-40B4-BE49-F238E27FC236}">
                <a16:creationId xmlns:a16="http://schemas.microsoft.com/office/drawing/2014/main" id="{55DBB14E-05A0-4D2C-4974-AB551596814B}"/>
              </a:ext>
            </a:extLst>
          </p:cNvPr>
          <p:cNvSpPr/>
          <p:nvPr userDrawn="1"/>
        </p:nvSpPr>
        <p:spPr>
          <a:xfrm>
            <a:off x="609919" y="6457867"/>
            <a:ext cx="693947" cy="2392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3" name="Line 10">
            <a:extLst>
              <a:ext uri="{FF2B5EF4-FFF2-40B4-BE49-F238E27FC236}">
                <a16:creationId xmlns:a16="http://schemas.microsoft.com/office/drawing/2014/main" id="{1E1C0282-CD04-939A-C456-637BD8C71A5F}"/>
              </a:ext>
            </a:extLst>
          </p:cNvPr>
          <p:cNvSpPr>
            <a:spLocks noChangeShapeType="1"/>
          </p:cNvSpPr>
          <p:nvPr userDrawn="1"/>
        </p:nvSpPr>
        <p:spPr bwMode="auto">
          <a:xfrm>
            <a:off x="609918" y="956737"/>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Footer Placeholder 2">
            <a:extLst>
              <a:ext uri="{FF2B5EF4-FFF2-40B4-BE49-F238E27FC236}">
                <a16:creationId xmlns:a16="http://schemas.microsoft.com/office/drawing/2014/main" id="{325FD855-1CEC-6729-3716-B1F378FB124B}"/>
              </a:ext>
            </a:extLst>
          </p:cNvPr>
          <p:cNvSpPr txBox="1">
            <a:spLocks/>
          </p:cNvSpPr>
          <p:nvPr userDrawn="1"/>
        </p:nvSpPr>
        <p:spPr>
          <a:xfrm>
            <a:off x="3419903" y="6501530"/>
            <a:ext cx="5358544" cy="306629"/>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1000" dirty="0">
                <a:latin typeface="EYInterstate Light" panose="02000506000000020004" pitchFamily="2" charset="0"/>
              </a:rPr>
              <a:t>EY member firms do not practice law where not permitted by local law or regulation. </a:t>
            </a:r>
            <a:br>
              <a:rPr lang="en-US" sz="1000" dirty="0">
                <a:latin typeface="EYInterstate Light" panose="02000506000000020004" pitchFamily="2" charset="0"/>
              </a:rPr>
            </a:br>
            <a:r>
              <a:rPr lang="en-US" sz="1000" dirty="0">
                <a:latin typeface="EYInterstate Light" panose="02000506000000020004" pitchFamily="2" charset="0"/>
              </a:rPr>
              <a:t>Ernst &amp; Young LLP (US) does not practice law or offer legal advice.</a:t>
            </a:r>
            <a:endParaRPr lang="en-IN" sz="1000" dirty="0">
              <a:latin typeface="EYInterstate Light" panose="02000506000000020004" pitchFamily="2" charset="0"/>
            </a:endParaRPr>
          </a:p>
        </p:txBody>
      </p:sp>
    </p:spTree>
    <p:extLst>
      <p:ext uri="{BB962C8B-B14F-4D97-AF65-F5344CB8AC3E}">
        <p14:creationId xmlns:p14="http://schemas.microsoft.com/office/powerpoint/2010/main" val="490914665"/>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9" r:id="rId3"/>
    <p:sldLayoutId id="2147484761" r:id="rId4"/>
    <p:sldLayoutId id="2147484762" r:id="rId5"/>
    <p:sldLayoutId id="2147484763" r:id="rId6"/>
    <p:sldLayoutId id="2147484765" r:id="rId7"/>
    <p:sldLayoutId id="2147484766" r:id="rId8"/>
    <p:sldLayoutId id="2147484767" r:id="rId9"/>
    <p:sldLayoutId id="2147484768" r:id="rId10"/>
    <p:sldLayoutId id="2147484770" r:id="rId11"/>
  </p:sldLayoutIdLst>
  <p:hf hdr="0"/>
  <p:txStyles>
    <p:titleStyle>
      <a:lvl1pPr algn="l" defTabSz="913486"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260" indent="-356260" algn="l" defTabSz="913486" rtl="0" eaLnBrk="1" latinLnBrk="0" hangingPunct="1">
        <a:spcBef>
          <a:spcPct val="20000"/>
        </a:spcBef>
        <a:buClr>
          <a:schemeClr val="tx2"/>
        </a:buClr>
        <a:buSzPct val="70000"/>
        <a:buFont typeface="Arial" pitchFamily="34"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70000"/>
        <a:buFont typeface="Arial" pitchFamily="34"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70000"/>
        <a:buFont typeface="Arial" pitchFamily="34"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70000"/>
        <a:buFont typeface="Arial" pitchFamily="34"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70000"/>
        <a:buFont typeface="Arial" pitchFamily="34"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userDrawn="1">
          <p15:clr>
            <a:srgbClr val="F26B43"/>
          </p15:clr>
        </p15:guide>
        <p15:guide id="2" pos="7306">
          <p15:clr>
            <a:srgbClr val="F26B43"/>
          </p15:clr>
        </p15:guide>
        <p15:guide id="3" orient="horz" pos="749" userDrawn="1">
          <p15:clr>
            <a:srgbClr val="F26B43"/>
          </p15:clr>
        </p15:guide>
        <p15:guide id="4" orient="horz" pos="3850">
          <p15:clr>
            <a:srgbClr val="F26B43"/>
          </p15:clr>
        </p15:guide>
        <p15:guide id="6" orient="horz" pos="182" userDrawn="1">
          <p15:clr>
            <a:srgbClr val="F26B43"/>
          </p15:clr>
        </p15:guide>
        <p15:guide id="7" orient="horz" pos="3976" userDrawn="1">
          <p15:clr>
            <a:srgbClr val="F26B43"/>
          </p15:clr>
        </p15:guide>
        <p15:guide id="8" orient="horz" pos="66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slideLayout" Target="../slideLayouts/slideLayout10.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2" Type="http://schemas.openxmlformats.org/officeDocument/2006/relationships/tags" Target="../tags/tag69.xml"/><Relationship Id="rId16" Type="http://schemas.openxmlformats.org/officeDocument/2006/relationships/chart" Target="../charts/chart7.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image" Target="../media/image4.emf"/><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oleObject" Target="../embeddings/oleObject2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8.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0.xml"/><Relationship Id="rId1" Type="http://schemas.openxmlformats.org/officeDocument/2006/relationships/tags" Target="../tags/tag82.xml"/><Relationship Id="rId4" Type="http://schemas.openxmlformats.org/officeDocument/2006/relationships/image" Target="../media/image4.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83.xml"/><Relationship Id="rId5" Type="http://schemas.openxmlformats.org/officeDocument/2006/relationships/image" Target="../media/image4.emf"/><Relationship Id="rId4" Type="http://schemas.openxmlformats.org/officeDocument/2006/relationships/oleObject" Target="../embeddings/oleObject2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chart" Target="../charts/chart9.xml"/><Relationship Id="rId5" Type="http://schemas.openxmlformats.org/officeDocument/2006/relationships/image" Target="../media/image4.emf"/><Relationship Id="rId4" Type="http://schemas.openxmlformats.org/officeDocument/2006/relationships/oleObject" Target="../embeddings/oleObject25.bin"/></Relationships>
</file>

<file path=ppt/slides/_rels/slide1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oleObject" Target="../embeddings/oleObject26.bin"/><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slideLayout" Target="../slideLayouts/slideLayout10.xml"/><Relationship Id="rId2" Type="http://schemas.openxmlformats.org/officeDocument/2006/relationships/tags" Target="../tags/tag87.xml"/><Relationship Id="rId16" Type="http://schemas.openxmlformats.org/officeDocument/2006/relationships/chart" Target="../charts/chart11.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chart" Target="../charts/chart1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image" Target="../media/image4.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0.xml"/><Relationship Id="rId1" Type="http://schemas.openxmlformats.org/officeDocument/2006/relationships/tags" Target="../tags/tag97.xml"/><Relationship Id="rId4" Type="http://schemas.openxmlformats.org/officeDocument/2006/relationships/image" Target="../media/image4.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0.xml"/><Relationship Id="rId1" Type="http://schemas.openxmlformats.org/officeDocument/2006/relationships/tags" Target="../tags/tag15.xml"/><Relationship Id="rId4" Type="http://schemas.openxmlformats.org/officeDocument/2006/relationships/image" Target="../media/image14.emf"/></Relationships>
</file>

<file path=ppt/slides/_rels/slide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14.emf"/><Relationship Id="rId3" Type="http://schemas.openxmlformats.org/officeDocument/2006/relationships/tags" Target="../tags/tag18.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oleObject" Target="../embeddings/oleObject14.bin"/><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notesSlide" Target="../notesSlides/notesSlide1.xml"/><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slideLayout" Target="../slideLayouts/slideLayout10.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chart" Target="../charts/chart1.xml"/></Relationships>
</file>

<file path=ppt/slides/_rels/slide4.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chart" Target="../charts/chart3.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chart" Target="../charts/chart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4.emf"/><Relationship Id="rId5" Type="http://schemas.openxmlformats.org/officeDocument/2006/relationships/tags" Target="../tags/tag42.xml"/><Relationship Id="rId10" Type="http://schemas.openxmlformats.org/officeDocument/2006/relationships/oleObject" Target="../embeddings/oleObject15.bin"/><Relationship Id="rId4" Type="http://schemas.openxmlformats.org/officeDocument/2006/relationships/tags" Target="../tags/tag41.xml"/><Relationship Id="rId9" Type="http://schemas.openxmlformats.org/officeDocument/2006/relationships/slideLayout" Target="../slideLayouts/slideLayout10.xml"/><Relationship Id="rId14" Type="http://schemas.openxmlformats.org/officeDocument/2006/relationships/chart" Target="../charts/chart4.xml"/></Relationships>
</file>

<file path=ppt/slides/_rels/slide5.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oleObject" Target="../embeddings/oleObject16.bin"/><Relationship Id="rId7" Type="http://schemas.openxmlformats.org/officeDocument/2006/relationships/image" Target="../media/image17.jpeg"/><Relationship Id="rId2" Type="http://schemas.openxmlformats.org/officeDocument/2006/relationships/slideLayout" Target="../slideLayouts/slideLayout10.xml"/><Relationship Id="rId1" Type="http://schemas.openxmlformats.org/officeDocument/2006/relationships/tags" Target="../tags/tag46.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4.emf"/><Relationship Id="rId9" Type="http://schemas.openxmlformats.org/officeDocument/2006/relationships/image" Target="../media/image19.jpe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0.xml"/><Relationship Id="rId1" Type="http://schemas.openxmlformats.org/officeDocument/2006/relationships/tags" Target="../tags/tag47.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slideLayout" Target="../slideLayouts/slideLayout10.xml"/><Relationship Id="rId18" Type="http://schemas.openxmlformats.org/officeDocument/2006/relationships/image" Target="../media/image21.wmf"/><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image" Target="../media/image20.wmf"/><Relationship Id="rId2" Type="http://schemas.openxmlformats.org/officeDocument/2006/relationships/tags" Target="../tags/tag49.xml"/><Relationship Id="rId16" Type="http://schemas.openxmlformats.org/officeDocument/2006/relationships/chart" Target="../charts/chart5.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image" Target="../media/image4.emf"/><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oleObject" Target="../embeddings/oleObject1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0.xml"/><Relationship Id="rId1" Type="http://schemas.openxmlformats.org/officeDocument/2006/relationships/tags" Target="../tags/tag60.xml"/><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chart" Target="../charts/chart6.xml"/><Relationship Id="rId5" Type="http://schemas.openxmlformats.org/officeDocument/2006/relationships/tags" Target="../tags/tag65.xml"/><Relationship Id="rId10" Type="http://schemas.openxmlformats.org/officeDocument/2006/relationships/image" Target="../media/image4.emf"/><Relationship Id="rId4" Type="http://schemas.openxmlformats.org/officeDocument/2006/relationships/tags" Target="../tags/tag64.xml"/><Relationship Id="rId9" Type="http://schemas.openxmlformats.org/officeDocument/2006/relationships/oleObject" Target="../embeddings/oleObject2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83595" y="2092309"/>
            <a:ext cx="4000436" cy="860400"/>
          </a:xfrm>
        </p:spPr>
        <p:txBody>
          <a:bodyPr/>
          <a:lstStyle/>
          <a:p>
            <a:r>
              <a:rPr lang="en-IN" dirty="0"/>
              <a:t>How do you turn barriers into building blocks?</a:t>
            </a:r>
          </a:p>
        </p:txBody>
      </p:sp>
      <p:grpSp>
        <p:nvGrpSpPr>
          <p:cNvPr id="6" name="Group 4">
            <a:extLst>
              <a:ext uri="{FF2B5EF4-FFF2-40B4-BE49-F238E27FC236}">
                <a16:creationId xmlns:a16="http://schemas.microsoft.com/office/drawing/2014/main" id="{5CDFA706-D934-FF34-DD66-19FADECB8B4C}"/>
              </a:ext>
            </a:extLst>
          </p:cNvPr>
          <p:cNvGrpSpPr>
            <a:grpSpLocks noChangeAspect="1"/>
          </p:cNvGrpSpPr>
          <p:nvPr/>
        </p:nvGrpSpPr>
        <p:grpSpPr bwMode="auto">
          <a:xfrm>
            <a:off x="10687324" y="5205116"/>
            <a:ext cx="1133134" cy="1326882"/>
            <a:chOff x="6529" y="3125"/>
            <a:chExt cx="772" cy="904"/>
          </a:xfrm>
        </p:grpSpPr>
        <p:sp>
          <p:nvSpPr>
            <p:cNvPr id="7" name="Freeform 5">
              <a:extLst>
                <a:ext uri="{FF2B5EF4-FFF2-40B4-BE49-F238E27FC236}">
                  <a16:creationId xmlns:a16="http://schemas.microsoft.com/office/drawing/2014/main" id="{6063FE24-969B-7E1D-B59E-6FF56548D91B}"/>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6">
              <a:extLst>
                <a:ext uri="{FF2B5EF4-FFF2-40B4-BE49-F238E27FC236}">
                  <a16:creationId xmlns:a16="http://schemas.microsoft.com/office/drawing/2014/main" id="{F8825A42-EB5C-BFB6-0824-86D67027B1A5}"/>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596422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611536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28" imgH="328" progId="TCLayout.ActiveDocument.1">
                  <p:embed/>
                </p:oleObj>
              </mc:Choice>
              <mc:Fallback>
                <p:oleObj name="think-cell Slide" r:id="rId14"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p:txBody>
          <a:bodyPr/>
          <a:lstStyle/>
          <a:p>
            <a:r>
              <a:rPr lang="en-US" dirty="0" err="1">
                <a:solidFill>
                  <a:schemeClr val="tx2"/>
                </a:solidFill>
                <a:latin typeface="+mn-lt"/>
              </a:rPr>
              <a:t>Legal’s</a:t>
            </a:r>
            <a:r>
              <a:rPr lang="en-US" dirty="0">
                <a:solidFill>
                  <a:schemeClr val="tx2"/>
                </a:solidFill>
                <a:latin typeface="+mn-lt"/>
              </a:rPr>
              <a:t> tech challenges: </a:t>
            </a:r>
            <a:r>
              <a:rPr lang="en-US" dirty="0">
                <a:latin typeface="+mn-lt"/>
              </a:rPr>
              <a:t>While some technologies are used extensively, more advanced tools have yet to gain adoption</a:t>
            </a:r>
            <a:endParaRPr lang="en-GB" dirty="0">
              <a:latin typeface="+mn-lt"/>
            </a:endParaRPr>
          </a:p>
        </p:txBody>
      </p:sp>
      <p:graphicFrame>
        <p:nvGraphicFramePr>
          <p:cNvPr id="6" name="Chart 5">
            <a:extLst>
              <a:ext uri="{FF2B5EF4-FFF2-40B4-BE49-F238E27FC236}">
                <a16:creationId xmlns:a16="http://schemas.microsoft.com/office/drawing/2014/main" id="{C0D6DCA9-729F-F13F-BF80-159A7341D5B0}"/>
              </a:ext>
            </a:extLst>
          </p:cNvPr>
          <p:cNvGraphicFramePr/>
          <p:nvPr>
            <p:custDataLst>
              <p:tags r:id="rId2"/>
            </p:custDataLst>
            <p:extLst>
              <p:ext uri="{D42A27DB-BD31-4B8C-83A1-F6EECF244321}">
                <p14:modId xmlns:p14="http://schemas.microsoft.com/office/powerpoint/2010/main" val="4256452952"/>
              </p:ext>
            </p:extLst>
          </p:nvPr>
        </p:nvGraphicFramePr>
        <p:xfrm>
          <a:off x="5649254" y="1693808"/>
          <a:ext cx="5451475" cy="4257675"/>
        </p:xfrm>
        <a:graphic>
          <a:graphicData uri="http://schemas.openxmlformats.org/drawingml/2006/chart">
            <c:chart xmlns:c="http://schemas.openxmlformats.org/drawingml/2006/chart" xmlns:r="http://schemas.openxmlformats.org/officeDocument/2006/relationships" r:id="rId16"/>
          </a:graphicData>
        </a:graphic>
      </p:graphicFrame>
      <p:sp>
        <p:nvSpPr>
          <p:cNvPr id="8" name="Text Placeholder 2">
            <a:extLst>
              <a:ext uri="{FF2B5EF4-FFF2-40B4-BE49-F238E27FC236}">
                <a16:creationId xmlns:a16="http://schemas.microsoft.com/office/drawing/2014/main" id="{933F7E93-FC0E-D684-FB49-DEC43AA19701}"/>
              </a:ext>
            </a:extLst>
          </p:cNvPr>
          <p:cNvSpPr>
            <a:spLocks noGrp="1"/>
          </p:cNvSpPr>
          <p:nvPr>
            <p:custDataLst>
              <p:tags r:id="rId3"/>
            </p:custDataLst>
          </p:nvPr>
        </p:nvSpPr>
        <p:spPr bwMode="auto">
          <a:xfrm>
            <a:off x="608203" y="2249433"/>
            <a:ext cx="14970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r>
              <a:rPr lang="en-US" altLang="en-US" sz="1400" dirty="0">
                <a:latin typeface="+mn-lt"/>
              </a:rPr>
              <a:t>E-signature tools</a:t>
            </a:r>
            <a:endParaRPr lang="en-US" sz="1400" dirty="0">
              <a:latin typeface="+mn-lt"/>
            </a:endParaRPr>
          </a:p>
        </p:txBody>
      </p:sp>
      <p:sp>
        <p:nvSpPr>
          <p:cNvPr id="9" name="Text Placeholder 2">
            <a:extLst>
              <a:ext uri="{FF2B5EF4-FFF2-40B4-BE49-F238E27FC236}">
                <a16:creationId xmlns:a16="http://schemas.microsoft.com/office/drawing/2014/main" id="{8339522F-5B71-4D66-E170-7629D90D1992}"/>
              </a:ext>
            </a:extLst>
          </p:cNvPr>
          <p:cNvSpPr>
            <a:spLocks noGrp="1"/>
          </p:cNvSpPr>
          <p:nvPr>
            <p:custDataLst>
              <p:tags r:id="rId4"/>
            </p:custDataLst>
          </p:nvPr>
        </p:nvSpPr>
        <p:spPr bwMode="auto">
          <a:xfrm>
            <a:off x="608203" y="1973794"/>
            <a:ext cx="38735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r>
              <a:rPr lang="en-US" altLang="en-US" sz="1400" dirty="0">
                <a:latin typeface="+mn-lt"/>
              </a:rPr>
              <a:t>Workflow tools to manage approvals</a:t>
            </a:r>
            <a:endParaRPr lang="en-US" sz="1400" dirty="0">
              <a:latin typeface="+mn-lt"/>
            </a:endParaRPr>
          </a:p>
        </p:txBody>
      </p:sp>
      <p:sp>
        <p:nvSpPr>
          <p:cNvPr id="10" name="Text Placeholder 2">
            <a:extLst>
              <a:ext uri="{FF2B5EF4-FFF2-40B4-BE49-F238E27FC236}">
                <a16:creationId xmlns:a16="http://schemas.microsoft.com/office/drawing/2014/main" id="{952887EC-EF3B-DAF2-EAD7-CE6E49341CB8}"/>
              </a:ext>
            </a:extLst>
          </p:cNvPr>
          <p:cNvSpPr>
            <a:spLocks noGrp="1"/>
          </p:cNvSpPr>
          <p:nvPr>
            <p:custDataLst>
              <p:tags r:id="rId5"/>
            </p:custDataLst>
          </p:nvPr>
        </p:nvSpPr>
        <p:spPr bwMode="auto">
          <a:xfrm>
            <a:off x="608203" y="3097667"/>
            <a:ext cx="10604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D0742B63-2EE8-4DAC-A93B-FD78397B0F87}" type="datetime'I''''''nt''''''''''ake'''' ''''''t''oo''l''''''s'''''''''''''">
              <a:rPr lang="en-US" altLang="en-US" sz="1400" smtClean="0">
                <a:latin typeface="+mn-lt"/>
              </a:rPr>
              <a:pPr/>
              <a:t>Intake tools</a:t>
            </a:fld>
            <a:endParaRPr lang="en-US" sz="1400" dirty="0">
              <a:latin typeface="+mn-lt"/>
            </a:endParaRPr>
          </a:p>
        </p:txBody>
      </p:sp>
      <p:sp>
        <p:nvSpPr>
          <p:cNvPr id="11" name="Text Placeholder 2">
            <a:extLst>
              <a:ext uri="{FF2B5EF4-FFF2-40B4-BE49-F238E27FC236}">
                <a16:creationId xmlns:a16="http://schemas.microsoft.com/office/drawing/2014/main" id="{F6195550-60F9-4F44-C6A9-CCEF7C994656}"/>
              </a:ext>
            </a:extLst>
          </p:cNvPr>
          <p:cNvSpPr>
            <a:spLocks noGrp="1"/>
          </p:cNvSpPr>
          <p:nvPr>
            <p:custDataLst>
              <p:tags r:id="rId6"/>
            </p:custDataLst>
          </p:nvPr>
        </p:nvSpPr>
        <p:spPr bwMode="auto">
          <a:xfrm>
            <a:off x="608203" y="3375310"/>
            <a:ext cx="30416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BADF5EDA-1460-450D-BD38-4696DF5EDCC2}" type="datetime'Auto''''m''a''t''ion to''o''ls'' to'' creat''e dr''a''ft''''s'">
              <a:rPr lang="en-US" altLang="en-US" sz="1400" smtClean="0">
                <a:latin typeface="+mn-lt"/>
              </a:rPr>
              <a:pPr/>
              <a:t>Automation tools to create drafts</a:t>
            </a:fld>
            <a:endParaRPr lang="en-US" sz="1400" dirty="0">
              <a:latin typeface="+mn-lt"/>
            </a:endParaRPr>
          </a:p>
        </p:txBody>
      </p:sp>
      <p:sp>
        <p:nvSpPr>
          <p:cNvPr id="12" name="Text Placeholder 2">
            <a:extLst>
              <a:ext uri="{FF2B5EF4-FFF2-40B4-BE49-F238E27FC236}">
                <a16:creationId xmlns:a16="http://schemas.microsoft.com/office/drawing/2014/main" id="{CAE00DF9-529B-2BA4-8326-8D3FA9FFFEA8}"/>
              </a:ext>
            </a:extLst>
          </p:cNvPr>
          <p:cNvSpPr>
            <a:spLocks noGrp="1"/>
          </p:cNvSpPr>
          <p:nvPr>
            <p:custDataLst>
              <p:tags r:id="rId7"/>
            </p:custDataLst>
          </p:nvPr>
        </p:nvSpPr>
        <p:spPr bwMode="auto">
          <a:xfrm>
            <a:off x="608203" y="3652953"/>
            <a:ext cx="451008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B2EDFB9F-1945-4B20-8FE2-B0E1E4ABBA84}" type="datetime'Autom''ation tools'' ''to rev''ie''w, redline and'' negotiate'">
              <a:rPr lang="en-US" altLang="en-US" sz="1400" smtClean="0">
                <a:latin typeface="+mn-lt"/>
              </a:rPr>
              <a:pPr/>
              <a:t>Automation tools to review, redline and negotiate</a:t>
            </a:fld>
            <a:endParaRPr lang="en-US" sz="1400" dirty="0">
              <a:latin typeface="+mn-lt"/>
            </a:endParaRPr>
          </a:p>
        </p:txBody>
      </p:sp>
      <p:sp>
        <p:nvSpPr>
          <p:cNvPr id="13" name="Text Placeholder 2">
            <a:extLst>
              <a:ext uri="{FF2B5EF4-FFF2-40B4-BE49-F238E27FC236}">
                <a16:creationId xmlns:a16="http://schemas.microsoft.com/office/drawing/2014/main" id="{EB26E72A-4BC4-3C75-555D-661E9C1357E3}"/>
              </a:ext>
            </a:extLst>
          </p:cNvPr>
          <p:cNvSpPr>
            <a:spLocks noGrp="1"/>
          </p:cNvSpPr>
          <p:nvPr>
            <p:custDataLst>
              <p:tags r:id="rId8"/>
            </p:custDataLst>
          </p:nvPr>
        </p:nvSpPr>
        <p:spPr bwMode="auto">
          <a:xfrm>
            <a:off x="608203" y="4767625"/>
            <a:ext cx="43799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26697D68-C15B-422D-B08A-16575C667E51}" type="datetime'Analytics t''''''ools to analyze contra''cting pro''cess''es'">
              <a:rPr lang="en-US" altLang="en-US" sz="1400" smtClean="0">
                <a:latin typeface="+mn-lt"/>
              </a:rPr>
              <a:pPr/>
              <a:t>Analytics tools to analyze contracting processes</a:t>
            </a:fld>
            <a:endParaRPr lang="en-US" sz="1400" dirty="0">
              <a:latin typeface="+mn-lt"/>
            </a:endParaRPr>
          </a:p>
        </p:txBody>
      </p:sp>
      <p:sp>
        <p:nvSpPr>
          <p:cNvPr id="14" name="Text Placeholder 2">
            <a:extLst>
              <a:ext uri="{FF2B5EF4-FFF2-40B4-BE49-F238E27FC236}">
                <a16:creationId xmlns:a16="http://schemas.microsoft.com/office/drawing/2014/main" id="{34935014-1CE2-3BEB-57E2-843D003A05A6}"/>
              </a:ext>
            </a:extLst>
          </p:cNvPr>
          <p:cNvSpPr>
            <a:spLocks noGrp="1"/>
          </p:cNvSpPr>
          <p:nvPr>
            <p:custDataLst>
              <p:tags r:id="rId9"/>
            </p:custDataLst>
          </p:nvPr>
        </p:nvSpPr>
        <p:spPr bwMode="auto">
          <a:xfrm>
            <a:off x="608203" y="3930596"/>
            <a:ext cx="441642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r>
              <a:rPr lang="en-US" altLang="en-US" sz="1400" dirty="0">
                <a:latin typeface="+mn-lt"/>
              </a:rPr>
              <a:t>Workflow tools to manage escalation and approvals</a:t>
            </a:r>
            <a:endParaRPr lang="en-US" sz="1400" dirty="0">
              <a:latin typeface="+mn-lt"/>
            </a:endParaRPr>
          </a:p>
        </p:txBody>
      </p:sp>
      <p:sp>
        <p:nvSpPr>
          <p:cNvPr id="15" name="Text Placeholder 2">
            <a:extLst>
              <a:ext uri="{FF2B5EF4-FFF2-40B4-BE49-F238E27FC236}">
                <a16:creationId xmlns:a16="http://schemas.microsoft.com/office/drawing/2014/main" id="{5F3FE387-8492-4438-732A-B91F42564BB8}"/>
              </a:ext>
            </a:extLst>
          </p:cNvPr>
          <p:cNvSpPr>
            <a:spLocks noGrp="1"/>
          </p:cNvSpPr>
          <p:nvPr>
            <p:custDataLst>
              <p:tags r:id="rId10"/>
            </p:custDataLst>
          </p:nvPr>
        </p:nvSpPr>
        <p:spPr bwMode="auto">
          <a:xfrm>
            <a:off x="608203" y="5047415"/>
            <a:ext cx="50530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E80F99ED-F5B6-4F55-94B7-C5EC959B013F}" type="datetime'Due diligence ''tools to h''elp find clauses within contracts'">
              <a:rPr lang="en-US" altLang="en-US" sz="1400" smtClean="0">
                <a:latin typeface="+mn-lt"/>
              </a:rPr>
              <a:pPr marL="0" indent="0">
                <a:spcBef>
                  <a:spcPct val="0"/>
                </a:spcBef>
                <a:spcAft>
                  <a:spcPct val="0"/>
                </a:spcAft>
                <a:buNone/>
              </a:pPr>
              <a:t>Due diligence tools to help find clauses within contracts</a:t>
            </a:fld>
            <a:endParaRPr lang="en-US" sz="1400" dirty="0">
              <a:latin typeface="+mn-lt"/>
            </a:endParaRPr>
          </a:p>
        </p:txBody>
      </p:sp>
      <p:sp>
        <p:nvSpPr>
          <p:cNvPr id="16" name="Text Placeholder 2">
            <a:extLst>
              <a:ext uri="{FF2B5EF4-FFF2-40B4-BE49-F238E27FC236}">
                <a16:creationId xmlns:a16="http://schemas.microsoft.com/office/drawing/2014/main" id="{489C0102-DD8E-ECCE-5990-FA617F353AC2}"/>
              </a:ext>
            </a:extLst>
          </p:cNvPr>
          <p:cNvSpPr>
            <a:spLocks noGrp="1"/>
          </p:cNvSpPr>
          <p:nvPr>
            <p:custDataLst>
              <p:tags r:id="rId11"/>
            </p:custDataLst>
          </p:nvPr>
        </p:nvSpPr>
        <p:spPr bwMode="auto">
          <a:xfrm>
            <a:off x="608203" y="5327205"/>
            <a:ext cx="49260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67D65367-18B2-40B6-971A-EE771E0D08F8}" type="datetime'D''ata extraction ''tools to extract str''uctured data points'">
              <a:rPr lang="en-US" altLang="en-US" sz="1400" smtClean="0">
                <a:latin typeface="+mn-lt"/>
              </a:rPr>
              <a:pPr marL="0" indent="0">
                <a:spcBef>
                  <a:spcPct val="0"/>
                </a:spcBef>
                <a:spcAft>
                  <a:spcPct val="0"/>
                </a:spcAft>
                <a:buNone/>
              </a:pPr>
              <a:t>Data extraction tools to extract structured data points</a:t>
            </a:fld>
            <a:endParaRPr lang="en-US" sz="1400" dirty="0">
              <a:latin typeface="+mn-lt"/>
            </a:endParaRPr>
          </a:p>
        </p:txBody>
      </p:sp>
      <p:sp>
        <p:nvSpPr>
          <p:cNvPr id="17" name="Text Placeholder 2">
            <a:extLst>
              <a:ext uri="{FF2B5EF4-FFF2-40B4-BE49-F238E27FC236}">
                <a16:creationId xmlns:a16="http://schemas.microsoft.com/office/drawing/2014/main" id="{0BDA544A-66CC-A10A-09FE-18E82CA66149}"/>
              </a:ext>
            </a:extLst>
          </p:cNvPr>
          <p:cNvSpPr>
            <a:spLocks noGrp="1"/>
          </p:cNvSpPr>
          <p:nvPr>
            <p:custDataLst>
              <p:tags r:id="rId12"/>
            </p:custDataLst>
          </p:nvPr>
        </p:nvSpPr>
        <p:spPr bwMode="auto">
          <a:xfrm>
            <a:off x="608203" y="5606995"/>
            <a:ext cx="34099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B9ABD380-376B-480F-A325-7E3349E88A5A}" type="datetime'T''o''ol''s to'' compare clau''se''s in co''nt''''r''''acts'''">
              <a:rPr lang="en-US" altLang="en-US" sz="1400" smtClean="0">
                <a:latin typeface="+mn-lt"/>
              </a:rPr>
              <a:pPr/>
              <a:t>Tools to compare clauses in contracts</a:t>
            </a:fld>
            <a:endParaRPr lang="en-US" sz="1400" dirty="0">
              <a:latin typeface="+mn-lt"/>
            </a:endParaRPr>
          </a:p>
        </p:txBody>
      </p:sp>
      <p:cxnSp>
        <p:nvCxnSpPr>
          <p:cNvPr id="18" name="Straight Connector 17">
            <a:extLst>
              <a:ext uri="{FF2B5EF4-FFF2-40B4-BE49-F238E27FC236}">
                <a16:creationId xmlns:a16="http://schemas.microsoft.com/office/drawing/2014/main" id="{229A809B-7638-ACFE-641B-3ABC40C0AA0D}"/>
              </a:ext>
            </a:extLst>
          </p:cNvPr>
          <p:cNvCxnSpPr/>
          <p:nvPr/>
        </p:nvCxnSpPr>
        <p:spPr>
          <a:xfrm>
            <a:off x="627074" y="2769131"/>
            <a:ext cx="10896600" cy="0"/>
          </a:xfrm>
          <a:prstGeom prst="line">
            <a:avLst/>
          </a:prstGeom>
          <a:ln w="9525">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CF0F7B-C7B0-079D-E4F8-0B6143CC2660}"/>
              </a:ext>
            </a:extLst>
          </p:cNvPr>
          <p:cNvCxnSpPr/>
          <p:nvPr/>
        </p:nvCxnSpPr>
        <p:spPr>
          <a:xfrm>
            <a:off x="596241" y="4494415"/>
            <a:ext cx="10896600" cy="0"/>
          </a:xfrm>
          <a:prstGeom prst="line">
            <a:avLst/>
          </a:prstGeom>
          <a:ln w="9525">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15FCADD-01E2-542D-F909-B9CF4EAE2307}"/>
              </a:ext>
            </a:extLst>
          </p:cNvPr>
          <p:cNvSpPr/>
          <p:nvPr/>
        </p:nvSpPr>
        <p:spPr>
          <a:xfrm>
            <a:off x="608203" y="1655493"/>
            <a:ext cx="4251271" cy="307777"/>
          </a:xfrm>
          <a:prstGeom prst="rect">
            <a:avLst/>
          </a:prstGeom>
        </p:spPr>
        <p:txBody>
          <a:bodyPr wrap="square" lIns="0">
            <a:spAutoFit/>
          </a:bodyPr>
          <a:lstStyle/>
          <a:p>
            <a:r>
              <a:rPr lang="en-US" sz="1400" b="1" dirty="0">
                <a:solidFill>
                  <a:schemeClr val="tx2"/>
                </a:solidFill>
              </a:rPr>
              <a:t>Approval-to-sign technology</a:t>
            </a:r>
          </a:p>
        </p:txBody>
      </p:sp>
      <p:sp>
        <p:nvSpPr>
          <p:cNvPr id="21" name="Rectangle 20">
            <a:extLst>
              <a:ext uri="{FF2B5EF4-FFF2-40B4-BE49-F238E27FC236}">
                <a16:creationId xmlns:a16="http://schemas.microsoft.com/office/drawing/2014/main" id="{6D3B1360-FEF7-9980-D7C9-3876DA0958D3}"/>
              </a:ext>
            </a:extLst>
          </p:cNvPr>
          <p:cNvSpPr/>
          <p:nvPr/>
        </p:nvSpPr>
        <p:spPr>
          <a:xfrm>
            <a:off x="608203" y="2794822"/>
            <a:ext cx="3656866" cy="307777"/>
          </a:xfrm>
          <a:prstGeom prst="rect">
            <a:avLst/>
          </a:prstGeom>
        </p:spPr>
        <p:txBody>
          <a:bodyPr wrap="square" lIns="0">
            <a:spAutoFit/>
          </a:bodyPr>
          <a:lstStyle/>
          <a:p>
            <a:r>
              <a:rPr lang="en-US" sz="1400" b="1" dirty="0">
                <a:solidFill>
                  <a:schemeClr val="tx2"/>
                </a:solidFill>
              </a:rPr>
              <a:t>Contract creation technologies</a:t>
            </a:r>
          </a:p>
        </p:txBody>
      </p:sp>
      <p:sp>
        <p:nvSpPr>
          <p:cNvPr id="22" name="Rectangle 21">
            <a:extLst>
              <a:ext uri="{FF2B5EF4-FFF2-40B4-BE49-F238E27FC236}">
                <a16:creationId xmlns:a16="http://schemas.microsoft.com/office/drawing/2014/main" id="{83865413-C114-7937-5B14-F87F0794B0DE}"/>
              </a:ext>
            </a:extLst>
          </p:cNvPr>
          <p:cNvSpPr/>
          <p:nvPr/>
        </p:nvSpPr>
        <p:spPr>
          <a:xfrm>
            <a:off x="608203" y="4489040"/>
            <a:ext cx="3644901" cy="307777"/>
          </a:xfrm>
          <a:prstGeom prst="rect">
            <a:avLst/>
          </a:prstGeom>
        </p:spPr>
        <p:txBody>
          <a:bodyPr wrap="square" lIns="0">
            <a:spAutoFit/>
          </a:bodyPr>
          <a:lstStyle/>
          <a:p>
            <a:r>
              <a:rPr lang="en-US" sz="1400" b="1" dirty="0">
                <a:solidFill>
                  <a:schemeClr val="tx2"/>
                </a:solidFill>
              </a:rPr>
              <a:t>Contract analysis technologies</a:t>
            </a:r>
          </a:p>
        </p:txBody>
      </p:sp>
      <p:sp>
        <p:nvSpPr>
          <p:cNvPr id="25" name="TextBox 24">
            <a:extLst>
              <a:ext uri="{FF2B5EF4-FFF2-40B4-BE49-F238E27FC236}">
                <a16:creationId xmlns:a16="http://schemas.microsoft.com/office/drawing/2014/main" id="{C4BFDDA0-992B-5589-AF67-E39639907100}"/>
              </a:ext>
            </a:extLst>
          </p:cNvPr>
          <p:cNvSpPr txBox="1"/>
          <p:nvPr/>
        </p:nvSpPr>
        <p:spPr>
          <a:xfrm>
            <a:off x="1465040" y="1195254"/>
            <a:ext cx="9268274" cy="45720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IN" sz="1600" b="1" dirty="0">
                <a:solidFill>
                  <a:schemeClr val="tx1">
                    <a:lumMod val="100000"/>
                  </a:schemeClr>
                </a:solidFill>
              </a:rPr>
              <a:t>Percentage of companies reporting they use technology extensively </a:t>
            </a:r>
          </a:p>
        </p:txBody>
      </p:sp>
      <p:sp>
        <p:nvSpPr>
          <p:cNvPr id="26" name="TextBox 25">
            <a:extLst>
              <a:ext uri="{FF2B5EF4-FFF2-40B4-BE49-F238E27FC236}">
                <a16:creationId xmlns:a16="http://schemas.microsoft.com/office/drawing/2014/main" id="{4B503581-C483-D753-F3DE-BA12DB9A1897}"/>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2021 EY Law Survey.</a:t>
            </a:r>
          </a:p>
        </p:txBody>
      </p:sp>
    </p:spTree>
    <p:extLst>
      <p:ext uri="{BB962C8B-B14F-4D97-AF65-F5344CB8AC3E}">
        <p14:creationId xmlns:p14="http://schemas.microsoft.com/office/powerpoint/2010/main" val="2300188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284094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a:xfrm>
            <a:off x="609920" y="294200"/>
            <a:ext cx="10978515" cy="590400"/>
          </a:xfrm>
        </p:spPr>
        <p:txBody>
          <a:bodyPr/>
          <a:lstStyle/>
          <a:p>
            <a:r>
              <a:rPr lang="en-US" dirty="0">
                <a:solidFill>
                  <a:srgbClr val="FFE600"/>
                </a:solidFill>
              </a:rPr>
              <a:t>Legal’s tech challenges: </a:t>
            </a:r>
            <a:r>
              <a:rPr lang="en-US" dirty="0"/>
              <a:t>Law departments are struggling at every step in their technology journey</a:t>
            </a:r>
          </a:p>
        </p:txBody>
      </p:sp>
      <p:sp>
        <p:nvSpPr>
          <p:cNvPr id="34" name="Rectangle 33">
            <a:extLst>
              <a:ext uri="{FF2B5EF4-FFF2-40B4-BE49-F238E27FC236}">
                <a16:creationId xmlns:a16="http://schemas.microsoft.com/office/drawing/2014/main" id="{7EE8D9AD-94AA-2D2A-B138-E3033B786981}"/>
              </a:ext>
            </a:extLst>
          </p:cNvPr>
          <p:cNvSpPr/>
          <p:nvPr/>
        </p:nvSpPr>
        <p:spPr>
          <a:xfrm>
            <a:off x="609920" y="4096058"/>
            <a:ext cx="6373368" cy="453476"/>
          </a:xfrm>
          <a:prstGeom prst="rect">
            <a:avLst/>
          </a:prstGeom>
          <a:solidFill>
            <a:srgbClr val="C4C4CD"/>
          </a:solidFill>
        </p:spPr>
        <p:txBody>
          <a:bodyPr wrap="square">
            <a:noAutofit/>
          </a:bodyPr>
          <a:lstStyle/>
          <a:p>
            <a:pPr marL="342900" indent="-342900">
              <a:spcBef>
                <a:spcPts val="1200"/>
              </a:spcBef>
              <a:buClr>
                <a:schemeClr val="tx1"/>
              </a:buClr>
              <a:buSzPct val="100000"/>
              <a:buFont typeface="+mj-lt"/>
              <a:buAutoNum type="arabicPeriod"/>
            </a:pPr>
            <a:r>
              <a:rPr lang="en-US" sz="1600" dirty="0"/>
              <a:t>Too much time spent identifying the right technology</a:t>
            </a:r>
          </a:p>
        </p:txBody>
      </p:sp>
      <p:sp>
        <p:nvSpPr>
          <p:cNvPr id="70" name="TextBox 69">
            <a:extLst>
              <a:ext uri="{FF2B5EF4-FFF2-40B4-BE49-F238E27FC236}">
                <a16:creationId xmlns:a16="http://schemas.microsoft.com/office/drawing/2014/main" id="{407AE710-3B3A-5036-2ADD-D29EDC19446A}"/>
              </a:ext>
            </a:extLst>
          </p:cNvPr>
          <p:cNvSpPr txBox="1"/>
          <p:nvPr/>
        </p:nvSpPr>
        <p:spPr>
          <a:xfrm>
            <a:off x="609920" y="3350068"/>
            <a:ext cx="6373368" cy="581851"/>
          </a:xfrm>
          <a:prstGeom prst="parallelogram">
            <a:avLst/>
          </a:prstGeom>
          <a:solidFill>
            <a:schemeClr val="tx2"/>
          </a:solidFill>
        </p:spPr>
        <p:txBody>
          <a:bodyPr wrap="square" anchor="ctr">
            <a:noAutofit/>
          </a:bodyPr>
          <a:lstStyle/>
          <a:p>
            <a:pPr algn="ctr"/>
            <a:r>
              <a:rPr lang="en-IN" sz="1600" b="1" dirty="0">
                <a:solidFill>
                  <a:schemeClr val="bg2"/>
                </a:solidFill>
              </a:rPr>
              <a:t>Top three challenges from selection to adoption</a:t>
            </a:r>
          </a:p>
        </p:txBody>
      </p:sp>
      <p:sp>
        <p:nvSpPr>
          <p:cNvPr id="71" name="TextBox 70">
            <a:extLst>
              <a:ext uri="{FF2B5EF4-FFF2-40B4-BE49-F238E27FC236}">
                <a16:creationId xmlns:a16="http://schemas.microsoft.com/office/drawing/2014/main" id="{B87C31A1-192B-0C1B-9D4D-426279EFB535}"/>
              </a:ext>
            </a:extLst>
          </p:cNvPr>
          <p:cNvSpPr txBox="1"/>
          <p:nvPr/>
        </p:nvSpPr>
        <p:spPr>
          <a:xfrm>
            <a:off x="7359121" y="1206047"/>
            <a:ext cx="4242816" cy="1143555"/>
          </a:xfrm>
          <a:prstGeom prst="rect">
            <a:avLst/>
          </a:prstGeom>
          <a:solidFill>
            <a:srgbClr val="C4C4CD"/>
          </a:solidFill>
          <a:ln>
            <a:noFill/>
          </a:ln>
        </p:spPr>
        <p:txBody>
          <a:bodyPr wrap="square" anchor="ctr">
            <a:noAutofit/>
          </a:bodyPr>
          <a:lstStyle/>
          <a:p>
            <a:pPr algn="ctr"/>
            <a:r>
              <a:rPr lang="en-IN" sz="1600" b="1" dirty="0"/>
              <a:t>The outcome of these challenges is that most departments (and in-house lawyers) don’t have the technology they need</a:t>
            </a:r>
          </a:p>
        </p:txBody>
      </p:sp>
      <p:grpSp>
        <p:nvGrpSpPr>
          <p:cNvPr id="18" name="Group 17">
            <a:extLst>
              <a:ext uri="{FF2B5EF4-FFF2-40B4-BE49-F238E27FC236}">
                <a16:creationId xmlns:a16="http://schemas.microsoft.com/office/drawing/2014/main" id="{0F2B3B78-7A36-9F1B-6F08-89989117EA5B}"/>
              </a:ext>
            </a:extLst>
          </p:cNvPr>
          <p:cNvGrpSpPr/>
          <p:nvPr/>
        </p:nvGrpSpPr>
        <p:grpSpPr>
          <a:xfrm>
            <a:off x="7359121" y="2584207"/>
            <a:ext cx="4239154" cy="1482976"/>
            <a:chOff x="6995671" y="4778124"/>
            <a:chExt cx="4239154" cy="1482976"/>
          </a:xfrm>
        </p:grpSpPr>
        <p:sp>
          <p:nvSpPr>
            <p:cNvPr id="19" name="TextBox 18">
              <a:extLst>
                <a:ext uri="{FF2B5EF4-FFF2-40B4-BE49-F238E27FC236}">
                  <a16:creationId xmlns:a16="http://schemas.microsoft.com/office/drawing/2014/main" id="{583F1AED-3769-F216-F8AC-F0421FC1D92B}"/>
                </a:ext>
              </a:extLst>
            </p:cNvPr>
            <p:cNvSpPr txBox="1"/>
            <p:nvPr/>
          </p:nvSpPr>
          <p:spPr>
            <a:xfrm>
              <a:off x="8180614" y="5049101"/>
              <a:ext cx="3054211" cy="941022"/>
            </a:xfrm>
            <a:prstGeom prst="rect">
              <a:avLst/>
            </a:prstGeom>
            <a:noFill/>
            <a:ln>
              <a:solidFill>
                <a:schemeClr val="tx2"/>
              </a:solidFill>
              <a:prstDash val="solid"/>
            </a:ln>
          </p:spPr>
          <p:txBody>
            <a:bodyPr wrap="square" lIns="365760" tIns="45720" rIns="45720" bIns="45720" anchor="ctr">
              <a:noAutofit/>
            </a:bodyPr>
            <a:lstStyle/>
            <a:p>
              <a:pPr>
                <a:buClr>
                  <a:srgbClr val="2E2E38"/>
                </a:buClr>
                <a:buSzPct val="110000"/>
                <a:defRPr/>
              </a:pPr>
              <a:r>
                <a:rPr lang="en-IN" sz="1400" b="1" dirty="0">
                  <a:solidFill>
                    <a:prstClr val="white"/>
                  </a:solidFill>
                  <a:ea typeface="+mn-lt"/>
                  <a:cs typeface="+mn-lt"/>
                </a:rPr>
                <a:t>of law department leaders do not have the data and technology needed to optimize their department.</a:t>
              </a:r>
            </a:p>
          </p:txBody>
        </p:sp>
        <p:grpSp>
          <p:nvGrpSpPr>
            <p:cNvPr id="20" name="Group 19">
              <a:extLst>
                <a:ext uri="{FF2B5EF4-FFF2-40B4-BE49-F238E27FC236}">
                  <a16:creationId xmlns:a16="http://schemas.microsoft.com/office/drawing/2014/main" id="{60E5AD7D-1A8F-5376-4A3A-1D692953FB5D}"/>
                </a:ext>
              </a:extLst>
            </p:cNvPr>
            <p:cNvGrpSpPr/>
            <p:nvPr/>
          </p:nvGrpSpPr>
          <p:grpSpPr>
            <a:xfrm>
              <a:off x="6995671" y="4778124"/>
              <a:ext cx="1457340" cy="1482976"/>
              <a:chOff x="6995671" y="4778124"/>
              <a:chExt cx="1457340" cy="1482976"/>
            </a:xfrm>
          </p:grpSpPr>
          <p:grpSp>
            <p:nvGrpSpPr>
              <p:cNvPr id="21" name="Group 20">
                <a:extLst>
                  <a:ext uri="{FF2B5EF4-FFF2-40B4-BE49-F238E27FC236}">
                    <a16:creationId xmlns:a16="http://schemas.microsoft.com/office/drawing/2014/main" id="{677002E2-2BC8-BFB8-A5A7-3A9194724396}"/>
                  </a:ext>
                </a:extLst>
              </p:cNvPr>
              <p:cNvGrpSpPr/>
              <p:nvPr/>
            </p:nvGrpSpPr>
            <p:grpSpPr>
              <a:xfrm>
                <a:off x="6995671" y="4778124"/>
                <a:ext cx="1457340" cy="1482976"/>
                <a:chOff x="596032" y="1144948"/>
                <a:chExt cx="1175618" cy="1196298"/>
              </a:xfrm>
            </p:grpSpPr>
            <p:sp>
              <p:nvSpPr>
                <p:cNvPr id="23" name="Oval 22">
                  <a:extLst>
                    <a:ext uri="{FF2B5EF4-FFF2-40B4-BE49-F238E27FC236}">
                      <a16:creationId xmlns:a16="http://schemas.microsoft.com/office/drawing/2014/main" id="{5D8F5C87-50F1-55A5-DA61-0A5593C79B46}"/>
                    </a:ext>
                  </a:extLst>
                </p:cNvPr>
                <p:cNvSpPr/>
                <p:nvPr/>
              </p:nvSpPr>
              <p:spPr>
                <a:xfrm>
                  <a:off x="596032" y="1155288"/>
                  <a:ext cx="1175618" cy="1175618"/>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24" name="Group 23">
                  <a:extLst>
                    <a:ext uri="{FF2B5EF4-FFF2-40B4-BE49-F238E27FC236}">
                      <a16:creationId xmlns:a16="http://schemas.microsoft.com/office/drawing/2014/main" id="{65F9E0BE-2D91-C533-A23A-10C35F5DA554}"/>
                    </a:ext>
                  </a:extLst>
                </p:cNvPr>
                <p:cNvGrpSpPr/>
                <p:nvPr/>
              </p:nvGrpSpPr>
              <p:grpSpPr>
                <a:xfrm>
                  <a:off x="609918" y="1144948"/>
                  <a:ext cx="1147846" cy="1196298"/>
                  <a:chOff x="1200423" y="1251628"/>
                  <a:chExt cx="1147846" cy="1196298"/>
                </a:xfrm>
              </p:grpSpPr>
              <p:sp>
                <p:nvSpPr>
                  <p:cNvPr id="25" name="Oval 24">
                    <a:extLst>
                      <a:ext uri="{FF2B5EF4-FFF2-40B4-BE49-F238E27FC236}">
                        <a16:creationId xmlns:a16="http://schemas.microsoft.com/office/drawing/2014/main" id="{DE70682D-80E5-3FF3-E31E-34C22B493FA0}"/>
                      </a:ext>
                    </a:extLst>
                  </p:cNvPr>
                  <p:cNvSpPr/>
                  <p:nvPr/>
                </p:nvSpPr>
                <p:spPr>
                  <a:xfrm>
                    <a:off x="1308381" y="1408038"/>
                    <a:ext cx="931930" cy="931930"/>
                  </a:xfrm>
                  <a:prstGeom prst="ellipse">
                    <a:avLst/>
                  </a:prstGeom>
                  <a:noFill/>
                  <a:ln w="1905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6" name="Arc 25">
                    <a:extLst>
                      <a:ext uri="{FF2B5EF4-FFF2-40B4-BE49-F238E27FC236}">
                        <a16:creationId xmlns:a16="http://schemas.microsoft.com/office/drawing/2014/main" id="{0504D45A-3D9C-A537-E48E-A75C0931AE11}"/>
                      </a:ext>
                    </a:extLst>
                  </p:cNvPr>
                  <p:cNvSpPr/>
                  <p:nvPr/>
                </p:nvSpPr>
                <p:spPr>
                  <a:xfrm>
                    <a:off x="1200423" y="1300080"/>
                    <a:ext cx="1147846" cy="1147846"/>
                  </a:xfrm>
                  <a:prstGeom prst="arc">
                    <a:avLst>
                      <a:gd name="adj1" fmla="val 16200000"/>
                      <a:gd name="adj2" fmla="val 13586337"/>
                    </a:avLst>
                  </a:prstGeom>
                  <a:noFill/>
                  <a:ln w="19050">
                    <a:solidFill>
                      <a:schemeClr val="tx2"/>
                    </a:solidFill>
                    <a:prstDash val="solid"/>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7" name="Oval 26">
                    <a:extLst>
                      <a:ext uri="{FF2B5EF4-FFF2-40B4-BE49-F238E27FC236}">
                        <a16:creationId xmlns:a16="http://schemas.microsoft.com/office/drawing/2014/main" id="{D02A8A9C-1A95-5A88-0606-B73F8425E7ED}"/>
                      </a:ext>
                    </a:extLst>
                  </p:cNvPr>
                  <p:cNvSpPr/>
                  <p:nvPr/>
                </p:nvSpPr>
                <p:spPr>
                  <a:xfrm>
                    <a:off x="1484920" y="1251628"/>
                    <a:ext cx="138113" cy="138113"/>
                  </a:xfrm>
                  <a:prstGeom prst="ellips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grpSp>
          <p:sp>
            <p:nvSpPr>
              <p:cNvPr id="22" name="TextBox 21">
                <a:extLst>
                  <a:ext uri="{FF2B5EF4-FFF2-40B4-BE49-F238E27FC236}">
                    <a16:creationId xmlns:a16="http://schemas.microsoft.com/office/drawing/2014/main" id="{28981D25-D6F6-DA59-7B4B-41FC4759374D}"/>
                  </a:ext>
                </a:extLst>
              </p:cNvPr>
              <p:cNvSpPr txBox="1"/>
              <p:nvPr/>
            </p:nvSpPr>
            <p:spPr>
              <a:xfrm>
                <a:off x="7169714" y="5265697"/>
                <a:ext cx="1109254" cy="507831"/>
              </a:xfrm>
              <a:prstGeom prst="rect">
                <a:avLst/>
              </a:prstGeom>
              <a:noFill/>
            </p:spPr>
            <p:txBody>
              <a:bodyPr wrap="square" lIns="0" tIns="36576" rIns="0" bIns="0" rtlCol="0" anchor="ctr">
                <a:spAutoFit/>
              </a:bodyPr>
              <a:lstStyle/>
              <a:p>
                <a:pPr algn="ctr">
                  <a:lnSpc>
                    <a:spcPct val="85000"/>
                  </a:lnSpc>
                  <a:buClr>
                    <a:schemeClr val="accent2"/>
                  </a:buClr>
                  <a:buSzPct val="70000"/>
                </a:pPr>
                <a:r>
                  <a:rPr lang="en-GB" sz="3600" b="1" dirty="0">
                    <a:solidFill>
                      <a:schemeClr val="tx2"/>
                    </a:solidFill>
                  </a:rPr>
                  <a:t>94%</a:t>
                </a:r>
              </a:p>
            </p:txBody>
          </p:sp>
        </p:grpSp>
      </p:grpSp>
      <p:grpSp>
        <p:nvGrpSpPr>
          <p:cNvPr id="28" name="Group 27">
            <a:extLst>
              <a:ext uri="{FF2B5EF4-FFF2-40B4-BE49-F238E27FC236}">
                <a16:creationId xmlns:a16="http://schemas.microsoft.com/office/drawing/2014/main" id="{9C74856A-45BD-CFEA-4381-7B916311FBDB}"/>
              </a:ext>
            </a:extLst>
          </p:cNvPr>
          <p:cNvGrpSpPr/>
          <p:nvPr/>
        </p:nvGrpSpPr>
        <p:grpSpPr>
          <a:xfrm>
            <a:off x="7354984" y="4301788"/>
            <a:ext cx="4239039" cy="1482976"/>
            <a:chOff x="6995671" y="4778124"/>
            <a:chExt cx="4239039" cy="1482976"/>
          </a:xfrm>
        </p:grpSpPr>
        <p:sp>
          <p:nvSpPr>
            <p:cNvPr id="29" name="TextBox 28">
              <a:extLst>
                <a:ext uri="{FF2B5EF4-FFF2-40B4-BE49-F238E27FC236}">
                  <a16:creationId xmlns:a16="http://schemas.microsoft.com/office/drawing/2014/main" id="{B8B3E6CB-9E57-E137-ED9B-3F46DB1F8024}"/>
                </a:ext>
              </a:extLst>
            </p:cNvPr>
            <p:cNvSpPr txBox="1"/>
            <p:nvPr/>
          </p:nvSpPr>
          <p:spPr>
            <a:xfrm>
              <a:off x="8180614" y="5049101"/>
              <a:ext cx="3054096" cy="941022"/>
            </a:xfrm>
            <a:prstGeom prst="rect">
              <a:avLst/>
            </a:prstGeom>
            <a:noFill/>
            <a:ln>
              <a:solidFill>
                <a:schemeClr val="tx2"/>
              </a:solidFill>
              <a:prstDash val="solid"/>
            </a:ln>
          </p:spPr>
          <p:txBody>
            <a:bodyPr wrap="square" lIns="365760" tIns="45720" rIns="45720" bIns="45720" anchor="ctr">
              <a:noAutofit/>
            </a:bodyPr>
            <a:lstStyle/>
            <a:p>
              <a:pPr>
                <a:buClr>
                  <a:srgbClr val="2E2E38"/>
                </a:buClr>
                <a:buSzPct val="110000"/>
                <a:defRPr/>
              </a:pPr>
              <a:r>
                <a:rPr lang="en-IN" sz="1400" b="1" dirty="0">
                  <a:solidFill>
                    <a:prstClr val="white"/>
                  </a:solidFill>
                  <a:ea typeface="+mn-lt"/>
                  <a:cs typeface="+mn-lt"/>
                </a:rPr>
                <a:t>of in-house counsel report they have the technology needed to do their job.</a:t>
              </a:r>
            </a:p>
          </p:txBody>
        </p:sp>
        <p:grpSp>
          <p:nvGrpSpPr>
            <p:cNvPr id="30" name="Group 29">
              <a:extLst>
                <a:ext uri="{FF2B5EF4-FFF2-40B4-BE49-F238E27FC236}">
                  <a16:creationId xmlns:a16="http://schemas.microsoft.com/office/drawing/2014/main" id="{72EF4CE9-3D67-3D11-22BC-599C7D1A41EB}"/>
                </a:ext>
              </a:extLst>
            </p:cNvPr>
            <p:cNvGrpSpPr/>
            <p:nvPr/>
          </p:nvGrpSpPr>
          <p:grpSpPr>
            <a:xfrm>
              <a:off x="6995671" y="4778124"/>
              <a:ext cx="1457340" cy="1482976"/>
              <a:chOff x="6995671" y="4778124"/>
              <a:chExt cx="1457340" cy="1482976"/>
            </a:xfrm>
          </p:grpSpPr>
          <p:grpSp>
            <p:nvGrpSpPr>
              <p:cNvPr id="32" name="Group 31">
                <a:extLst>
                  <a:ext uri="{FF2B5EF4-FFF2-40B4-BE49-F238E27FC236}">
                    <a16:creationId xmlns:a16="http://schemas.microsoft.com/office/drawing/2014/main" id="{B8608A3C-41F1-19AF-4EBF-A2071319C414}"/>
                  </a:ext>
                </a:extLst>
              </p:cNvPr>
              <p:cNvGrpSpPr/>
              <p:nvPr/>
            </p:nvGrpSpPr>
            <p:grpSpPr>
              <a:xfrm>
                <a:off x="6995671" y="4778124"/>
                <a:ext cx="1457340" cy="1482976"/>
                <a:chOff x="596032" y="1144948"/>
                <a:chExt cx="1175618" cy="1196298"/>
              </a:xfrm>
            </p:grpSpPr>
            <p:sp>
              <p:nvSpPr>
                <p:cNvPr id="36" name="Oval 35">
                  <a:extLst>
                    <a:ext uri="{FF2B5EF4-FFF2-40B4-BE49-F238E27FC236}">
                      <a16:creationId xmlns:a16="http://schemas.microsoft.com/office/drawing/2014/main" id="{766B8C2C-F165-5CBB-32F8-53EBA7CF3FFB}"/>
                    </a:ext>
                  </a:extLst>
                </p:cNvPr>
                <p:cNvSpPr/>
                <p:nvPr/>
              </p:nvSpPr>
              <p:spPr>
                <a:xfrm>
                  <a:off x="596032" y="1155288"/>
                  <a:ext cx="1175618" cy="1175618"/>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37" name="Group 36">
                  <a:extLst>
                    <a:ext uri="{FF2B5EF4-FFF2-40B4-BE49-F238E27FC236}">
                      <a16:creationId xmlns:a16="http://schemas.microsoft.com/office/drawing/2014/main" id="{8C960B06-2AAB-8FF7-E15A-810B1988B68E}"/>
                    </a:ext>
                  </a:extLst>
                </p:cNvPr>
                <p:cNvGrpSpPr/>
                <p:nvPr/>
              </p:nvGrpSpPr>
              <p:grpSpPr>
                <a:xfrm>
                  <a:off x="609918" y="1144948"/>
                  <a:ext cx="1147846" cy="1196298"/>
                  <a:chOff x="1200423" y="1251628"/>
                  <a:chExt cx="1147846" cy="1196298"/>
                </a:xfrm>
              </p:grpSpPr>
              <p:sp>
                <p:nvSpPr>
                  <p:cNvPr id="38" name="Oval 37">
                    <a:extLst>
                      <a:ext uri="{FF2B5EF4-FFF2-40B4-BE49-F238E27FC236}">
                        <a16:creationId xmlns:a16="http://schemas.microsoft.com/office/drawing/2014/main" id="{30FF99F5-6778-AEEA-DE1F-593EFB568BD0}"/>
                      </a:ext>
                    </a:extLst>
                  </p:cNvPr>
                  <p:cNvSpPr/>
                  <p:nvPr/>
                </p:nvSpPr>
                <p:spPr>
                  <a:xfrm>
                    <a:off x="1308381" y="1408038"/>
                    <a:ext cx="931930" cy="931930"/>
                  </a:xfrm>
                  <a:prstGeom prst="ellipse">
                    <a:avLst/>
                  </a:prstGeom>
                  <a:noFill/>
                  <a:ln w="1905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39" name="Arc 38">
                    <a:extLst>
                      <a:ext uri="{FF2B5EF4-FFF2-40B4-BE49-F238E27FC236}">
                        <a16:creationId xmlns:a16="http://schemas.microsoft.com/office/drawing/2014/main" id="{336B8C17-FF50-7637-EAD7-B7E92AF13BB0}"/>
                      </a:ext>
                    </a:extLst>
                  </p:cNvPr>
                  <p:cNvSpPr/>
                  <p:nvPr/>
                </p:nvSpPr>
                <p:spPr>
                  <a:xfrm>
                    <a:off x="1200423" y="1300080"/>
                    <a:ext cx="1147846" cy="1147846"/>
                  </a:xfrm>
                  <a:prstGeom prst="arc">
                    <a:avLst>
                      <a:gd name="adj1" fmla="val 16200000"/>
                      <a:gd name="adj2" fmla="val 13586337"/>
                    </a:avLst>
                  </a:prstGeom>
                  <a:noFill/>
                  <a:ln w="19050">
                    <a:solidFill>
                      <a:schemeClr val="tx2"/>
                    </a:solidFill>
                    <a:prstDash val="solid"/>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40" name="Oval 39">
                    <a:extLst>
                      <a:ext uri="{FF2B5EF4-FFF2-40B4-BE49-F238E27FC236}">
                        <a16:creationId xmlns:a16="http://schemas.microsoft.com/office/drawing/2014/main" id="{71566C87-91F0-6534-3369-150E388E53FA}"/>
                      </a:ext>
                    </a:extLst>
                  </p:cNvPr>
                  <p:cNvSpPr/>
                  <p:nvPr/>
                </p:nvSpPr>
                <p:spPr>
                  <a:xfrm>
                    <a:off x="1484920" y="1251628"/>
                    <a:ext cx="138113" cy="138113"/>
                  </a:xfrm>
                  <a:prstGeom prst="ellips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grpSp>
          <p:sp>
            <p:nvSpPr>
              <p:cNvPr id="33" name="TextBox 32">
                <a:extLst>
                  <a:ext uri="{FF2B5EF4-FFF2-40B4-BE49-F238E27FC236}">
                    <a16:creationId xmlns:a16="http://schemas.microsoft.com/office/drawing/2014/main" id="{758301A1-63E1-4F97-ADC3-1FC78B1EA514}"/>
                  </a:ext>
                </a:extLst>
              </p:cNvPr>
              <p:cNvSpPr txBox="1"/>
              <p:nvPr/>
            </p:nvSpPr>
            <p:spPr>
              <a:xfrm>
                <a:off x="7169714" y="5153045"/>
                <a:ext cx="1109254" cy="82022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GB" b="1" dirty="0">
                    <a:solidFill>
                      <a:schemeClr val="bg1"/>
                    </a:solidFill>
                  </a:rPr>
                  <a:t>Only</a:t>
                </a:r>
              </a:p>
              <a:p>
                <a:pPr algn="ctr">
                  <a:lnSpc>
                    <a:spcPct val="85000"/>
                  </a:lnSpc>
                  <a:buClr>
                    <a:schemeClr val="accent2"/>
                  </a:buClr>
                  <a:buSzPct val="70000"/>
                </a:pPr>
                <a:r>
                  <a:rPr lang="en-GB" sz="3600" b="1" dirty="0">
                    <a:solidFill>
                      <a:schemeClr val="tx2"/>
                    </a:solidFill>
                  </a:rPr>
                  <a:t>30%</a:t>
                </a:r>
              </a:p>
            </p:txBody>
          </p:sp>
        </p:grpSp>
      </p:grpSp>
      <p:grpSp>
        <p:nvGrpSpPr>
          <p:cNvPr id="44" name="Group 43">
            <a:extLst>
              <a:ext uri="{FF2B5EF4-FFF2-40B4-BE49-F238E27FC236}">
                <a16:creationId xmlns:a16="http://schemas.microsoft.com/office/drawing/2014/main" id="{07E5CEE2-DCE6-395C-7C8D-1B3BC1DD1249}"/>
              </a:ext>
            </a:extLst>
          </p:cNvPr>
          <p:cNvGrpSpPr/>
          <p:nvPr/>
        </p:nvGrpSpPr>
        <p:grpSpPr>
          <a:xfrm>
            <a:off x="609920" y="1180647"/>
            <a:ext cx="6374405" cy="2092410"/>
            <a:chOff x="609920" y="1180647"/>
            <a:chExt cx="6374405" cy="2092410"/>
          </a:xfrm>
        </p:grpSpPr>
        <p:graphicFrame>
          <p:nvGraphicFramePr>
            <p:cNvPr id="68" name="Chart 67">
              <a:extLst>
                <a:ext uri="{FF2B5EF4-FFF2-40B4-BE49-F238E27FC236}">
                  <a16:creationId xmlns:a16="http://schemas.microsoft.com/office/drawing/2014/main" id="{3036CD1B-28F7-DE72-FB61-4278F3535E4A}"/>
                </a:ext>
              </a:extLst>
            </p:cNvPr>
            <p:cNvGraphicFramePr/>
            <p:nvPr>
              <p:custDataLst>
                <p:tags r:id="rId2"/>
              </p:custDataLst>
              <p:extLst>
                <p:ext uri="{D42A27DB-BD31-4B8C-83A1-F6EECF244321}">
                  <p14:modId xmlns:p14="http://schemas.microsoft.com/office/powerpoint/2010/main" val="2432729109"/>
                </p:ext>
              </p:extLst>
            </p:nvPr>
          </p:nvGraphicFramePr>
          <p:xfrm>
            <a:off x="609920" y="1180647"/>
            <a:ext cx="2092410" cy="2092410"/>
          </p:xfrm>
          <a:graphic>
            <a:graphicData uri="http://schemas.openxmlformats.org/drawingml/2006/chart">
              <c:chart xmlns:c="http://schemas.openxmlformats.org/drawingml/2006/chart" xmlns:r="http://schemas.openxmlformats.org/officeDocument/2006/relationships" r:id="rId6"/>
            </a:graphicData>
          </a:graphic>
        </p:graphicFrame>
        <p:grpSp>
          <p:nvGrpSpPr>
            <p:cNvPr id="17" name="Group 16">
              <a:extLst>
                <a:ext uri="{FF2B5EF4-FFF2-40B4-BE49-F238E27FC236}">
                  <a16:creationId xmlns:a16="http://schemas.microsoft.com/office/drawing/2014/main" id="{7CACB5F9-25C8-7A28-188E-406D289E9A56}"/>
                </a:ext>
              </a:extLst>
            </p:cNvPr>
            <p:cNvGrpSpPr/>
            <p:nvPr/>
          </p:nvGrpSpPr>
          <p:grpSpPr>
            <a:xfrm>
              <a:off x="2917372" y="1263450"/>
              <a:ext cx="4066953" cy="1508360"/>
              <a:chOff x="6515402" y="4830268"/>
              <a:chExt cx="3527131" cy="1508360"/>
            </a:xfrm>
          </p:grpSpPr>
          <p:sp>
            <p:nvSpPr>
              <p:cNvPr id="6" name="TextBox 5">
                <a:extLst>
                  <a:ext uri="{FF2B5EF4-FFF2-40B4-BE49-F238E27FC236}">
                    <a16:creationId xmlns:a16="http://schemas.microsoft.com/office/drawing/2014/main" id="{E6C2BB4F-00C5-CE17-C6C6-13B12EED76ED}"/>
                  </a:ext>
                </a:extLst>
              </p:cNvPr>
              <p:cNvSpPr txBox="1"/>
              <p:nvPr/>
            </p:nvSpPr>
            <p:spPr>
              <a:xfrm>
                <a:off x="6515402" y="5397606"/>
                <a:ext cx="3527131" cy="941022"/>
              </a:xfrm>
              <a:prstGeom prst="rect">
                <a:avLst/>
              </a:prstGeom>
              <a:noFill/>
              <a:ln>
                <a:noFill/>
                <a:prstDash val="lgDash"/>
              </a:ln>
            </p:spPr>
            <p:txBody>
              <a:bodyPr wrap="square" lIns="365760" tIns="45720" rIns="45720" bIns="45720" anchor="ctr">
                <a:noAutofit/>
              </a:bodyPr>
              <a:lstStyle/>
              <a:p>
                <a:pPr>
                  <a:buClr>
                    <a:srgbClr val="2E2E38"/>
                  </a:buClr>
                  <a:buSzPct val="110000"/>
                  <a:defRPr/>
                </a:pPr>
                <a:r>
                  <a:rPr lang="en-IN" sz="1400" b="1" dirty="0">
                    <a:solidFill>
                      <a:prstClr val="white"/>
                    </a:solidFill>
                    <a:ea typeface="+mn-lt"/>
                    <a:cs typeface="+mn-lt"/>
                  </a:rPr>
                  <a:t>of law department leaders report they face challenges securing budget for new technologies due to their C-suite having other priorities.</a:t>
                </a:r>
              </a:p>
            </p:txBody>
          </p:sp>
          <p:sp>
            <p:nvSpPr>
              <p:cNvPr id="69" name="TextBox 68">
                <a:extLst>
                  <a:ext uri="{FF2B5EF4-FFF2-40B4-BE49-F238E27FC236}">
                    <a16:creationId xmlns:a16="http://schemas.microsoft.com/office/drawing/2014/main" id="{A5B7899D-C919-112C-937D-B9CA76124CD5}"/>
                  </a:ext>
                </a:extLst>
              </p:cNvPr>
              <p:cNvSpPr txBox="1"/>
              <p:nvPr/>
            </p:nvSpPr>
            <p:spPr>
              <a:xfrm>
                <a:off x="7724340" y="4830268"/>
                <a:ext cx="1109254" cy="507831"/>
              </a:xfrm>
              <a:prstGeom prst="rect">
                <a:avLst/>
              </a:prstGeom>
              <a:noFill/>
            </p:spPr>
            <p:txBody>
              <a:bodyPr wrap="square" lIns="0" tIns="36576" rIns="0" bIns="0" rtlCol="0" anchor="ctr">
                <a:spAutoFit/>
              </a:bodyPr>
              <a:lstStyle/>
              <a:p>
                <a:pPr algn="ctr">
                  <a:lnSpc>
                    <a:spcPct val="85000"/>
                  </a:lnSpc>
                  <a:buClr>
                    <a:schemeClr val="accent2"/>
                  </a:buClr>
                  <a:buSzPct val="70000"/>
                </a:pPr>
                <a:r>
                  <a:rPr lang="en-GB" sz="3600" b="1" dirty="0">
                    <a:solidFill>
                      <a:schemeClr val="tx2"/>
                    </a:solidFill>
                  </a:rPr>
                  <a:t>63%</a:t>
                </a:r>
              </a:p>
            </p:txBody>
          </p:sp>
        </p:grpSp>
        <p:grpSp>
          <p:nvGrpSpPr>
            <p:cNvPr id="43" name="Group 42">
              <a:extLst>
                <a:ext uri="{FF2B5EF4-FFF2-40B4-BE49-F238E27FC236}">
                  <a16:creationId xmlns:a16="http://schemas.microsoft.com/office/drawing/2014/main" id="{A77A7B65-B5D6-2A84-5E1E-47A14820006A}"/>
                </a:ext>
              </a:extLst>
            </p:cNvPr>
            <p:cNvGrpSpPr/>
            <p:nvPr/>
          </p:nvGrpSpPr>
          <p:grpSpPr>
            <a:xfrm>
              <a:off x="2702330" y="1900911"/>
              <a:ext cx="383317" cy="651883"/>
              <a:chOff x="2702330" y="2035629"/>
              <a:chExt cx="383317" cy="651883"/>
            </a:xfrm>
          </p:grpSpPr>
          <p:sp>
            <p:nvSpPr>
              <p:cNvPr id="41" name="Arrow: Chevron 40">
                <a:extLst>
                  <a:ext uri="{FF2B5EF4-FFF2-40B4-BE49-F238E27FC236}">
                    <a16:creationId xmlns:a16="http://schemas.microsoft.com/office/drawing/2014/main" id="{671ABE10-DB97-EDFE-0709-F4AC5CF4E134}"/>
                  </a:ext>
                </a:extLst>
              </p:cNvPr>
              <p:cNvSpPr/>
              <p:nvPr/>
            </p:nvSpPr>
            <p:spPr>
              <a:xfrm>
                <a:off x="2702330" y="2035629"/>
                <a:ext cx="215042" cy="651883"/>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42" name="Arrow: Chevron 41">
                <a:extLst>
                  <a:ext uri="{FF2B5EF4-FFF2-40B4-BE49-F238E27FC236}">
                    <a16:creationId xmlns:a16="http://schemas.microsoft.com/office/drawing/2014/main" id="{2497E64E-7D17-8C79-F204-A83C01FDA965}"/>
                  </a:ext>
                </a:extLst>
              </p:cNvPr>
              <p:cNvSpPr/>
              <p:nvPr/>
            </p:nvSpPr>
            <p:spPr>
              <a:xfrm>
                <a:off x="2870605" y="2035629"/>
                <a:ext cx="215042" cy="651883"/>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grpSp>
      <p:sp>
        <p:nvSpPr>
          <p:cNvPr id="45" name="TextBox 44">
            <a:extLst>
              <a:ext uri="{FF2B5EF4-FFF2-40B4-BE49-F238E27FC236}">
                <a16:creationId xmlns:a16="http://schemas.microsoft.com/office/drawing/2014/main" id="{1371B857-C983-D80A-DD08-243D3F193E93}"/>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2021 EY Law Survey.</a:t>
            </a:r>
          </a:p>
        </p:txBody>
      </p:sp>
      <p:sp>
        <p:nvSpPr>
          <p:cNvPr id="52" name="Rectangle 51">
            <a:extLst>
              <a:ext uri="{FF2B5EF4-FFF2-40B4-BE49-F238E27FC236}">
                <a16:creationId xmlns:a16="http://schemas.microsoft.com/office/drawing/2014/main" id="{D9D4655B-1294-7017-547C-5BEE4EFD7314}"/>
              </a:ext>
            </a:extLst>
          </p:cNvPr>
          <p:cNvSpPr/>
          <p:nvPr/>
        </p:nvSpPr>
        <p:spPr>
          <a:xfrm>
            <a:off x="609920" y="5331288"/>
            <a:ext cx="6373368" cy="453476"/>
          </a:xfrm>
          <a:prstGeom prst="rect">
            <a:avLst/>
          </a:prstGeom>
          <a:solidFill>
            <a:srgbClr val="C4C4CD"/>
          </a:solidFill>
        </p:spPr>
        <p:txBody>
          <a:bodyPr wrap="square">
            <a:noAutofit/>
          </a:bodyPr>
          <a:lstStyle/>
          <a:p>
            <a:pPr marL="342900" indent="-342900">
              <a:spcBef>
                <a:spcPts val="1200"/>
              </a:spcBef>
              <a:buClr>
                <a:schemeClr val="tx1"/>
              </a:buClr>
              <a:buSzPct val="100000"/>
              <a:buFont typeface="+mj-lt"/>
              <a:buAutoNum type="arabicPeriod" startAt="3"/>
            </a:pPr>
            <a:r>
              <a:rPr lang="en-US" sz="1600" dirty="0"/>
              <a:t>Lawyers don’t fully utilize implemented technology</a:t>
            </a:r>
          </a:p>
        </p:txBody>
      </p:sp>
      <p:sp>
        <p:nvSpPr>
          <p:cNvPr id="53" name="Rectangle 52">
            <a:extLst>
              <a:ext uri="{FF2B5EF4-FFF2-40B4-BE49-F238E27FC236}">
                <a16:creationId xmlns:a16="http://schemas.microsoft.com/office/drawing/2014/main" id="{A043C6BC-CB34-8EF4-81B2-8C32E6579C99}"/>
              </a:ext>
            </a:extLst>
          </p:cNvPr>
          <p:cNvSpPr/>
          <p:nvPr/>
        </p:nvSpPr>
        <p:spPr>
          <a:xfrm>
            <a:off x="609920" y="4713673"/>
            <a:ext cx="6373368" cy="453476"/>
          </a:xfrm>
          <a:prstGeom prst="rect">
            <a:avLst/>
          </a:prstGeom>
          <a:solidFill>
            <a:srgbClr val="C4C4CD"/>
          </a:solidFill>
        </p:spPr>
        <p:txBody>
          <a:bodyPr wrap="square">
            <a:noAutofit/>
          </a:bodyPr>
          <a:lstStyle/>
          <a:p>
            <a:pPr marL="342900" indent="-342900">
              <a:spcBef>
                <a:spcPts val="1200"/>
              </a:spcBef>
              <a:buClr>
                <a:schemeClr val="tx1"/>
              </a:buClr>
              <a:buSzPct val="100000"/>
              <a:buFont typeface="+mj-lt"/>
              <a:buAutoNum type="arabicPeriod" startAt="2"/>
            </a:pPr>
            <a:r>
              <a:rPr lang="en-US" sz="1600" dirty="0"/>
              <a:t>Implementation was long and time-consuming</a:t>
            </a:r>
          </a:p>
        </p:txBody>
      </p:sp>
    </p:spTree>
    <p:extLst>
      <p:ext uri="{BB962C8B-B14F-4D97-AF65-F5344CB8AC3E}">
        <p14:creationId xmlns:p14="http://schemas.microsoft.com/office/powerpoint/2010/main" val="28600790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1877934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p:txBody>
          <a:bodyPr/>
          <a:lstStyle/>
          <a:p>
            <a:r>
              <a:rPr lang="en-US" dirty="0">
                <a:solidFill>
                  <a:srgbClr val="FFE600"/>
                </a:solidFill>
              </a:rPr>
              <a:t>Technology is a tool! </a:t>
            </a:r>
            <a:r>
              <a:rPr lang="en-US" dirty="0"/>
              <a:t>Understanding how a new technology aligns to broader corporate goals is key</a:t>
            </a:r>
          </a:p>
        </p:txBody>
      </p:sp>
      <p:grpSp>
        <p:nvGrpSpPr>
          <p:cNvPr id="12" name="Group 11">
            <a:extLst>
              <a:ext uri="{FF2B5EF4-FFF2-40B4-BE49-F238E27FC236}">
                <a16:creationId xmlns:a16="http://schemas.microsoft.com/office/drawing/2014/main" id="{94CE17AF-4C9F-5DEB-CAAA-0D5E60F4EE79}"/>
              </a:ext>
            </a:extLst>
          </p:cNvPr>
          <p:cNvGrpSpPr/>
          <p:nvPr/>
        </p:nvGrpSpPr>
        <p:grpSpPr>
          <a:xfrm>
            <a:off x="608203" y="1195254"/>
            <a:ext cx="10981944" cy="457200"/>
            <a:chOff x="608203" y="1195254"/>
            <a:chExt cx="10981944" cy="502920"/>
          </a:xfrm>
        </p:grpSpPr>
        <p:cxnSp>
          <p:nvCxnSpPr>
            <p:cNvPr id="13" name="Straight Connector 12">
              <a:extLst>
                <a:ext uri="{FF2B5EF4-FFF2-40B4-BE49-F238E27FC236}">
                  <a16:creationId xmlns:a16="http://schemas.microsoft.com/office/drawing/2014/main" id="{F40C1522-6909-10D2-B341-26EE0454190A}"/>
                </a:ext>
              </a:extLst>
            </p:cNvPr>
            <p:cNvCxnSpPr>
              <a:cxnSpLocks/>
            </p:cNvCxnSpPr>
            <p:nvPr/>
          </p:nvCxnSpPr>
          <p:spPr>
            <a:xfrm>
              <a:off x="608203" y="1446714"/>
              <a:ext cx="10981944" cy="0"/>
            </a:xfrm>
            <a:prstGeom prst="line">
              <a:avLst/>
            </a:prstGeom>
            <a:ln w="9525">
              <a:solidFill>
                <a:srgbClr val="C4C4CD"/>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DB06722-6D0F-F92D-29F0-E797DB84974D}"/>
                </a:ext>
              </a:extLst>
            </p:cNvPr>
            <p:cNvSpPr txBox="1"/>
            <p:nvPr/>
          </p:nvSpPr>
          <p:spPr>
            <a:xfrm>
              <a:off x="1465040" y="1195254"/>
              <a:ext cx="9268274" cy="50292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IN" sz="1600" b="1" dirty="0">
                  <a:solidFill>
                    <a:schemeClr val="tx1">
                      <a:lumMod val="100000"/>
                    </a:schemeClr>
                  </a:solidFill>
                </a:rPr>
                <a:t>CEOs’ priorities shed light on the areas law departments need to prioritize in the medium term</a:t>
              </a:r>
            </a:p>
          </p:txBody>
        </p:sp>
      </p:grpSp>
      <p:sp>
        <p:nvSpPr>
          <p:cNvPr id="15" name="Rectangle 16">
            <a:extLst>
              <a:ext uri="{FF2B5EF4-FFF2-40B4-BE49-F238E27FC236}">
                <a16:creationId xmlns:a16="http://schemas.microsoft.com/office/drawing/2014/main" id="{046FCC71-AF10-AB8B-F25F-56134E982AC6}"/>
              </a:ext>
            </a:extLst>
          </p:cNvPr>
          <p:cNvSpPr/>
          <p:nvPr/>
        </p:nvSpPr>
        <p:spPr>
          <a:xfrm>
            <a:off x="3400743" y="1796142"/>
            <a:ext cx="2606040" cy="4103915"/>
          </a:xfrm>
          <a:prstGeom prst="rect">
            <a:avLst/>
          </a:prstGeom>
          <a:noFill/>
          <a:ln w="6350"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16" name="Rectangle 16">
            <a:extLst>
              <a:ext uri="{FF2B5EF4-FFF2-40B4-BE49-F238E27FC236}">
                <a16:creationId xmlns:a16="http://schemas.microsoft.com/office/drawing/2014/main" id="{DB5A4A2D-FB8B-1394-04CF-B789FD18C16D}"/>
              </a:ext>
            </a:extLst>
          </p:cNvPr>
          <p:cNvSpPr/>
          <p:nvPr/>
        </p:nvSpPr>
        <p:spPr>
          <a:xfrm>
            <a:off x="6191568" y="1796142"/>
            <a:ext cx="2606040" cy="4103915"/>
          </a:xfrm>
          <a:prstGeom prst="rect">
            <a:avLst/>
          </a:prstGeom>
          <a:noFill/>
          <a:ln w="6350"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17" name="Rectangle 16">
            <a:extLst>
              <a:ext uri="{FF2B5EF4-FFF2-40B4-BE49-F238E27FC236}">
                <a16:creationId xmlns:a16="http://schemas.microsoft.com/office/drawing/2014/main" id="{CFB3D1E9-954E-C836-6EA7-888BFAEB1318}"/>
              </a:ext>
            </a:extLst>
          </p:cNvPr>
          <p:cNvSpPr/>
          <p:nvPr/>
        </p:nvSpPr>
        <p:spPr>
          <a:xfrm>
            <a:off x="609918" y="1796142"/>
            <a:ext cx="2606040" cy="4103915"/>
          </a:xfrm>
          <a:prstGeom prst="rect">
            <a:avLst/>
          </a:prstGeom>
          <a:noFill/>
          <a:ln w="6350"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18" name="Rectangle 16">
            <a:extLst>
              <a:ext uri="{FF2B5EF4-FFF2-40B4-BE49-F238E27FC236}">
                <a16:creationId xmlns:a16="http://schemas.microsoft.com/office/drawing/2014/main" id="{16B225EA-E1E2-7B50-627B-ABDC6CE65DC7}"/>
              </a:ext>
            </a:extLst>
          </p:cNvPr>
          <p:cNvSpPr/>
          <p:nvPr/>
        </p:nvSpPr>
        <p:spPr>
          <a:xfrm>
            <a:off x="8982393" y="1796142"/>
            <a:ext cx="2606040" cy="4103915"/>
          </a:xfrm>
          <a:prstGeom prst="rect">
            <a:avLst/>
          </a:prstGeom>
          <a:noFill/>
          <a:ln w="6350"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4" name="TextBox 53">
            <a:extLst>
              <a:ext uri="{FF2B5EF4-FFF2-40B4-BE49-F238E27FC236}">
                <a16:creationId xmlns:a16="http://schemas.microsoft.com/office/drawing/2014/main" id="{3241AE0C-DA9A-D914-B92F-D1910AE96917}"/>
              </a:ext>
            </a:extLst>
          </p:cNvPr>
          <p:cNvSpPr txBox="1"/>
          <p:nvPr/>
        </p:nvSpPr>
        <p:spPr>
          <a:xfrm>
            <a:off x="1722181" y="1820362"/>
            <a:ext cx="381515" cy="738664"/>
          </a:xfrm>
          <a:prstGeom prst="rect">
            <a:avLst/>
          </a:prstGeom>
          <a:noFill/>
        </p:spPr>
        <p:txBody>
          <a:bodyPr wrap="none" lIns="0" tIns="0" rIns="0" bIns="0" rtlCol="0" anchor="ctr">
            <a:spAutoFit/>
          </a:bodyPr>
          <a:lstStyle/>
          <a:p>
            <a:pPr algn="ctr">
              <a:buClr>
                <a:schemeClr val="accent2"/>
              </a:buClr>
              <a:buSzPct val="70000"/>
            </a:pPr>
            <a:r>
              <a:rPr lang="en-US" sz="4800" b="1" dirty="0">
                <a:solidFill>
                  <a:schemeClr val="tx2"/>
                </a:solidFill>
              </a:rPr>
              <a:t>1</a:t>
            </a:r>
            <a:endParaRPr lang="en-IN" sz="4800" b="1" dirty="0">
              <a:solidFill>
                <a:schemeClr val="tx2"/>
              </a:solidFill>
            </a:endParaRPr>
          </a:p>
        </p:txBody>
      </p:sp>
      <p:sp>
        <p:nvSpPr>
          <p:cNvPr id="55" name="TextBox 54">
            <a:extLst>
              <a:ext uri="{FF2B5EF4-FFF2-40B4-BE49-F238E27FC236}">
                <a16:creationId xmlns:a16="http://schemas.microsoft.com/office/drawing/2014/main" id="{D7F1ED3D-650C-834A-9879-B0791C2DB919}"/>
              </a:ext>
            </a:extLst>
          </p:cNvPr>
          <p:cNvSpPr txBox="1"/>
          <p:nvPr/>
        </p:nvSpPr>
        <p:spPr>
          <a:xfrm>
            <a:off x="4513006" y="1820362"/>
            <a:ext cx="381515" cy="738664"/>
          </a:xfrm>
          <a:prstGeom prst="rect">
            <a:avLst/>
          </a:prstGeom>
          <a:noFill/>
        </p:spPr>
        <p:txBody>
          <a:bodyPr wrap="none" lIns="0" tIns="0" rIns="0" bIns="0" rtlCol="0" anchor="ctr">
            <a:spAutoFit/>
          </a:bodyPr>
          <a:lstStyle/>
          <a:p>
            <a:pPr algn="ctr">
              <a:buClr>
                <a:schemeClr val="accent2"/>
              </a:buClr>
              <a:buSzPct val="70000"/>
            </a:pPr>
            <a:r>
              <a:rPr lang="en-US" sz="4800" b="1" dirty="0">
                <a:solidFill>
                  <a:schemeClr val="tx2"/>
                </a:solidFill>
              </a:rPr>
              <a:t>2</a:t>
            </a:r>
            <a:endParaRPr lang="en-IN" sz="4800" b="1" dirty="0">
              <a:solidFill>
                <a:schemeClr val="tx2"/>
              </a:solidFill>
            </a:endParaRPr>
          </a:p>
        </p:txBody>
      </p:sp>
      <p:sp>
        <p:nvSpPr>
          <p:cNvPr id="56" name="TextBox 55">
            <a:extLst>
              <a:ext uri="{FF2B5EF4-FFF2-40B4-BE49-F238E27FC236}">
                <a16:creationId xmlns:a16="http://schemas.microsoft.com/office/drawing/2014/main" id="{6BC119B9-2019-1107-C53D-92942D5C6AFC}"/>
              </a:ext>
            </a:extLst>
          </p:cNvPr>
          <p:cNvSpPr txBox="1"/>
          <p:nvPr/>
        </p:nvSpPr>
        <p:spPr>
          <a:xfrm>
            <a:off x="7303831" y="1820362"/>
            <a:ext cx="381515" cy="738664"/>
          </a:xfrm>
          <a:prstGeom prst="rect">
            <a:avLst/>
          </a:prstGeom>
          <a:noFill/>
        </p:spPr>
        <p:txBody>
          <a:bodyPr wrap="none" lIns="0" tIns="0" rIns="0" bIns="0" rtlCol="0" anchor="ctr">
            <a:spAutoFit/>
          </a:bodyPr>
          <a:lstStyle/>
          <a:p>
            <a:pPr algn="ctr">
              <a:buClr>
                <a:schemeClr val="accent2"/>
              </a:buClr>
              <a:buSzPct val="70000"/>
            </a:pPr>
            <a:r>
              <a:rPr lang="en-US" sz="4800" b="1" dirty="0">
                <a:solidFill>
                  <a:schemeClr val="tx2"/>
                </a:solidFill>
              </a:rPr>
              <a:t>3</a:t>
            </a:r>
            <a:endParaRPr lang="en-IN" sz="4800" b="1" dirty="0">
              <a:solidFill>
                <a:schemeClr val="tx2"/>
              </a:solidFill>
            </a:endParaRPr>
          </a:p>
        </p:txBody>
      </p:sp>
      <p:sp>
        <p:nvSpPr>
          <p:cNvPr id="57" name="TextBox 56">
            <a:extLst>
              <a:ext uri="{FF2B5EF4-FFF2-40B4-BE49-F238E27FC236}">
                <a16:creationId xmlns:a16="http://schemas.microsoft.com/office/drawing/2014/main" id="{16BF7812-382A-37B6-3449-C02A8D706DF9}"/>
              </a:ext>
            </a:extLst>
          </p:cNvPr>
          <p:cNvSpPr txBox="1"/>
          <p:nvPr/>
        </p:nvSpPr>
        <p:spPr>
          <a:xfrm>
            <a:off x="10094656" y="1820362"/>
            <a:ext cx="381515" cy="738664"/>
          </a:xfrm>
          <a:prstGeom prst="rect">
            <a:avLst/>
          </a:prstGeom>
          <a:noFill/>
        </p:spPr>
        <p:txBody>
          <a:bodyPr wrap="none" lIns="0" tIns="0" rIns="0" bIns="0" rtlCol="0" anchor="ctr">
            <a:spAutoFit/>
          </a:bodyPr>
          <a:lstStyle/>
          <a:p>
            <a:pPr algn="ctr">
              <a:buClr>
                <a:schemeClr val="accent2"/>
              </a:buClr>
              <a:buSzPct val="70000"/>
            </a:pPr>
            <a:r>
              <a:rPr lang="en-US" sz="4800" b="1" dirty="0">
                <a:solidFill>
                  <a:schemeClr val="tx2"/>
                </a:solidFill>
              </a:rPr>
              <a:t>4</a:t>
            </a:r>
            <a:endParaRPr lang="en-IN" sz="4800" b="1" dirty="0">
              <a:solidFill>
                <a:schemeClr val="tx2"/>
              </a:solidFill>
            </a:endParaRPr>
          </a:p>
        </p:txBody>
      </p:sp>
      <p:grpSp>
        <p:nvGrpSpPr>
          <p:cNvPr id="67" name="Group 66">
            <a:extLst>
              <a:ext uri="{FF2B5EF4-FFF2-40B4-BE49-F238E27FC236}">
                <a16:creationId xmlns:a16="http://schemas.microsoft.com/office/drawing/2014/main" id="{8471EED7-AA71-9366-8D49-F288C5448F10}"/>
              </a:ext>
            </a:extLst>
          </p:cNvPr>
          <p:cNvGrpSpPr/>
          <p:nvPr/>
        </p:nvGrpSpPr>
        <p:grpSpPr>
          <a:xfrm>
            <a:off x="765176" y="3228983"/>
            <a:ext cx="10146411" cy="123816"/>
            <a:chOff x="765176" y="3676050"/>
            <a:chExt cx="10146411" cy="152400"/>
          </a:xfrm>
        </p:grpSpPr>
        <p:cxnSp>
          <p:nvCxnSpPr>
            <p:cNvPr id="19" name="Straight Connector 18">
              <a:extLst>
                <a:ext uri="{FF2B5EF4-FFF2-40B4-BE49-F238E27FC236}">
                  <a16:creationId xmlns:a16="http://schemas.microsoft.com/office/drawing/2014/main" id="{97231DAF-BD04-B469-5775-E364680EE998}"/>
                </a:ext>
              </a:extLst>
            </p:cNvPr>
            <p:cNvCxnSpPr>
              <a:cxnSpLocks/>
            </p:cNvCxnSpPr>
            <p:nvPr/>
          </p:nvCxnSpPr>
          <p:spPr>
            <a:xfrm>
              <a:off x="765176" y="3828450"/>
              <a:ext cx="1774824" cy="0"/>
            </a:xfrm>
            <a:prstGeom prst="line">
              <a:avLst/>
            </a:prstGeom>
            <a:ln w="28575" cap="rnd">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13A6520-9AEE-1667-2EE4-B790C02A9027}"/>
                </a:ext>
              </a:extLst>
            </p:cNvPr>
            <p:cNvCxnSpPr>
              <a:cxnSpLocks/>
            </p:cNvCxnSpPr>
            <p:nvPr/>
          </p:nvCxnSpPr>
          <p:spPr>
            <a:xfrm>
              <a:off x="3556001" y="3828450"/>
              <a:ext cx="1773936" cy="0"/>
            </a:xfrm>
            <a:prstGeom prst="line">
              <a:avLst/>
            </a:prstGeom>
            <a:ln w="28575" cap="rnd">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B78915-9311-47D3-0755-9943B74F2636}"/>
                </a:ext>
              </a:extLst>
            </p:cNvPr>
            <p:cNvCxnSpPr>
              <a:cxnSpLocks/>
            </p:cNvCxnSpPr>
            <p:nvPr/>
          </p:nvCxnSpPr>
          <p:spPr>
            <a:xfrm>
              <a:off x="6346826" y="3828450"/>
              <a:ext cx="1773936" cy="0"/>
            </a:xfrm>
            <a:prstGeom prst="line">
              <a:avLst/>
            </a:prstGeom>
            <a:ln w="28575" cap="rnd">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EA64456-482B-6BEC-A480-4AF4A17A15AC}"/>
                </a:ext>
              </a:extLst>
            </p:cNvPr>
            <p:cNvCxnSpPr>
              <a:cxnSpLocks/>
            </p:cNvCxnSpPr>
            <p:nvPr/>
          </p:nvCxnSpPr>
          <p:spPr>
            <a:xfrm>
              <a:off x="9137651" y="3828450"/>
              <a:ext cx="1773936" cy="0"/>
            </a:xfrm>
            <a:prstGeom prst="line">
              <a:avLst/>
            </a:prstGeom>
            <a:ln w="28575" cap="rnd">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9DD64D6-0E8E-F76A-5898-D51E98DB9058}"/>
                </a:ext>
              </a:extLst>
            </p:cNvPr>
            <p:cNvCxnSpPr>
              <a:cxnSpLocks/>
            </p:cNvCxnSpPr>
            <p:nvPr/>
          </p:nvCxnSpPr>
          <p:spPr>
            <a:xfrm>
              <a:off x="765176" y="3676050"/>
              <a:ext cx="914400" cy="0"/>
            </a:xfrm>
            <a:prstGeom prst="line">
              <a:avLst/>
            </a:prstGeom>
            <a:ln w="28575" cap="rnd">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B97E2E-4C37-76EC-F047-A129E19B00D4}"/>
                </a:ext>
              </a:extLst>
            </p:cNvPr>
            <p:cNvCxnSpPr>
              <a:cxnSpLocks/>
            </p:cNvCxnSpPr>
            <p:nvPr/>
          </p:nvCxnSpPr>
          <p:spPr>
            <a:xfrm>
              <a:off x="3556001" y="3676050"/>
              <a:ext cx="914400" cy="0"/>
            </a:xfrm>
            <a:prstGeom prst="line">
              <a:avLst/>
            </a:prstGeom>
            <a:ln w="28575" cap="rnd">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37A4E5B-C8E4-8A2D-F436-5334CBF89CFE}"/>
                </a:ext>
              </a:extLst>
            </p:cNvPr>
            <p:cNvCxnSpPr>
              <a:cxnSpLocks/>
            </p:cNvCxnSpPr>
            <p:nvPr/>
          </p:nvCxnSpPr>
          <p:spPr>
            <a:xfrm>
              <a:off x="6346826" y="3676050"/>
              <a:ext cx="914400" cy="0"/>
            </a:xfrm>
            <a:prstGeom prst="line">
              <a:avLst/>
            </a:prstGeom>
            <a:ln w="28575" cap="rnd">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E009AFD-E00A-5C96-8BDD-31A34E0FF147}"/>
                </a:ext>
              </a:extLst>
            </p:cNvPr>
            <p:cNvCxnSpPr>
              <a:cxnSpLocks/>
            </p:cNvCxnSpPr>
            <p:nvPr/>
          </p:nvCxnSpPr>
          <p:spPr>
            <a:xfrm>
              <a:off x="9137651" y="3676050"/>
              <a:ext cx="914400" cy="0"/>
            </a:xfrm>
            <a:prstGeom prst="line">
              <a:avLst/>
            </a:prstGeom>
            <a:ln w="28575" cap="rnd">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63" name="TextBox 62">
            <a:extLst>
              <a:ext uri="{FF2B5EF4-FFF2-40B4-BE49-F238E27FC236}">
                <a16:creationId xmlns:a16="http://schemas.microsoft.com/office/drawing/2014/main" id="{48560B79-A29C-5A89-3E4A-C285D15CCF41}"/>
              </a:ext>
            </a:extLst>
          </p:cNvPr>
          <p:cNvSpPr txBox="1"/>
          <p:nvPr/>
        </p:nvSpPr>
        <p:spPr>
          <a:xfrm>
            <a:off x="746580" y="2524172"/>
            <a:ext cx="2332716" cy="615553"/>
          </a:xfrm>
          <a:prstGeom prst="rect">
            <a:avLst/>
          </a:prstGeom>
          <a:noFill/>
        </p:spPr>
        <p:txBody>
          <a:bodyPr wrap="square" lIns="0" tIns="0" rIns="0" bIns="0" rtlCol="0" anchor="t">
            <a:spAutoFit/>
          </a:bodyPr>
          <a:lstStyle/>
          <a:p>
            <a:pPr algn="ctr">
              <a:buClr>
                <a:schemeClr val="accent2"/>
              </a:buClr>
              <a:buSzPct val="70000"/>
            </a:pPr>
            <a:r>
              <a:rPr lang="en-US" sz="2000" b="1" dirty="0">
                <a:solidFill>
                  <a:schemeClr val="bg1"/>
                </a:solidFill>
              </a:rPr>
              <a:t>Transform </a:t>
            </a:r>
            <a:br>
              <a:rPr lang="en-US" sz="2000" b="1" dirty="0">
                <a:solidFill>
                  <a:schemeClr val="bg1"/>
                </a:solidFill>
              </a:rPr>
            </a:br>
            <a:r>
              <a:rPr lang="en-US" sz="2000" b="1" dirty="0">
                <a:solidFill>
                  <a:schemeClr val="bg1"/>
                </a:solidFill>
              </a:rPr>
              <a:t>risk management</a:t>
            </a:r>
          </a:p>
        </p:txBody>
      </p:sp>
      <p:sp>
        <p:nvSpPr>
          <p:cNvPr id="64" name="TextBox 63">
            <a:extLst>
              <a:ext uri="{FF2B5EF4-FFF2-40B4-BE49-F238E27FC236}">
                <a16:creationId xmlns:a16="http://schemas.microsoft.com/office/drawing/2014/main" id="{A8A91D4F-4F53-CC70-06D2-8FE9091ABDCE}"/>
              </a:ext>
            </a:extLst>
          </p:cNvPr>
          <p:cNvSpPr txBox="1"/>
          <p:nvPr/>
        </p:nvSpPr>
        <p:spPr>
          <a:xfrm>
            <a:off x="3537405" y="2524172"/>
            <a:ext cx="2332716" cy="615553"/>
          </a:xfrm>
          <a:prstGeom prst="rect">
            <a:avLst/>
          </a:prstGeom>
          <a:noFill/>
        </p:spPr>
        <p:txBody>
          <a:bodyPr wrap="square" lIns="0" tIns="0" rIns="0" bIns="0" rtlCol="0" anchor="t">
            <a:spAutoFit/>
          </a:bodyPr>
          <a:lstStyle/>
          <a:p>
            <a:pPr algn="ctr">
              <a:buClr>
                <a:schemeClr val="accent2"/>
              </a:buClr>
              <a:buSzPct val="70000"/>
            </a:pPr>
            <a:r>
              <a:rPr lang="en-US" sz="2000" b="1" dirty="0">
                <a:solidFill>
                  <a:schemeClr val="bg1"/>
                </a:solidFill>
              </a:rPr>
              <a:t>Re-evaluate cost structure</a:t>
            </a:r>
          </a:p>
        </p:txBody>
      </p:sp>
      <p:sp>
        <p:nvSpPr>
          <p:cNvPr id="65" name="TextBox 64">
            <a:extLst>
              <a:ext uri="{FF2B5EF4-FFF2-40B4-BE49-F238E27FC236}">
                <a16:creationId xmlns:a16="http://schemas.microsoft.com/office/drawing/2014/main" id="{5D1BEC6A-3C99-5A4E-D645-66B3B6F26319}"/>
              </a:ext>
            </a:extLst>
          </p:cNvPr>
          <p:cNvSpPr txBox="1"/>
          <p:nvPr/>
        </p:nvSpPr>
        <p:spPr>
          <a:xfrm>
            <a:off x="6328230" y="2524172"/>
            <a:ext cx="2332716" cy="307777"/>
          </a:xfrm>
          <a:prstGeom prst="rect">
            <a:avLst/>
          </a:prstGeom>
          <a:noFill/>
        </p:spPr>
        <p:txBody>
          <a:bodyPr wrap="square" lIns="0" tIns="0" rIns="0" bIns="0" rtlCol="0" anchor="t">
            <a:spAutoFit/>
          </a:bodyPr>
          <a:lstStyle/>
          <a:p>
            <a:pPr algn="ctr">
              <a:buClr>
                <a:schemeClr val="accent2"/>
              </a:buClr>
              <a:buSzPct val="70000"/>
            </a:pPr>
            <a:r>
              <a:rPr lang="en-US" sz="2000" b="1" dirty="0">
                <a:solidFill>
                  <a:schemeClr val="bg1"/>
                </a:solidFill>
              </a:rPr>
              <a:t>Digitize processes</a:t>
            </a:r>
          </a:p>
        </p:txBody>
      </p:sp>
      <p:sp>
        <p:nvSpPr>
          <p:cNvPr id="66" name="TextBox 65">
            <a:extLst>
              <a:ext uri="{FF2B5EF4-FFF2-40B4-BE49-F238E27FC236}">
                <a16:creationId xmlns:a16="http://schemas.microsoft.com/office/drawing/2014/main" id="{4583FE52-8822-756C-2EB9-3A2F7E32BFBD}"/>
              </a:ext>
            </a:extLst>
          </p:cNvPr>
          <p:cNvSpPr txBox="1"/>
          <p:nvPr/>
        </p:nvSpPr>
        <p:spPr>
          <a:xfrm>
            <a:off x="9119055" y="2524172"/>
            <a:ext cx="2332716" cy="615553"/>
          </a:xfrm>
          <a:prstGeom prst="rect">
            <a:avLst/>
          </a:prstGeom>
          <a:noFill/>
        </p:spPr>
        <p:txBody>
          <a:bodyPr wrap="square" lIns="0" tIns="0" rIns="0" bIns="0" rtlCol="0" anchor="t">
            <a:spAutoFit/>
          </a:bodyPr>
          <a:lstStyle/>
          <a:p>
            <a:pPr algn="ctr">
              <a:buClr>
                <a:schemeClr val="accent2"/>
              </a:buClr>
              <a:buSzPct val="70000"/>
            </a:pPr>
            <a:r>
              <a:rPr lang="en-IN" sz="2000" b="1" dirty="0">
                <a:solidFill>
                  <a:schemeClr val="bg1"/>
                </a:solidFill>
              </a:rPr>
              <a:t>Enable the business to grow</a:t>
            </a:r>
          </a:p>
        </p:txBody>
      </p:sp>
      <p:grpSp>
        <p:nvGrpSpPr>
          <p:cNvPr id="3" name="Group 2">
            <a:extLst>
              <a:ext uri="{FF2B5EF4-FFF2-40B4-BE49-F238E27FC236}">
                <a16:creationId xmlns:a16="http://schemas.microsoft.com/office/drawing/2014/main" id="{FF39E2AD-5433-3054-E361-9555227537B2}"/>
              </a:ext>
            </a:extLst>
          </p:cNvPr>
          <p:cNvGrpSpPr/>
          <p:nvPr/>
        </p:nvGrpSpPr>
        <p:grpSpPr>
          <a:xfrm>
            <a:off x="609920" y="3497596"/>
            <a:ext cx="10981944" cy="2605902"/>
            <a:chOff x="609920" y="3497596"/>
            <a:chExt cx="10981944" cy="2605902"/>
          </a:xfrm>
        </p:grpSpPr>
        <p:sp>
          <p:nvSpPr>
            <p:cNvPr id="72" name="TextBox 71">
              <a:extLst>
                <a:ext uri="{FF2B5EF4-FFF2-40B4-BE49-F238E27FC236}">
                  <a16:creationId xmlns:a16="http://schemas.microsoft.com/office/drawing/2014/main" id="{2B878B19-41F4-4D57-454B-81DCD5820882}"/>
                </a:ext>
              </a:extLst>
            </p:cNvPr>
            <p:cNvSpPr txBox="1"/>
            <p:nvPr/>
          </p:nvSpPr>
          <p:spPr>
            <a:xfrm>
              <a:off x="798023" y="4428246"/>
              <a:ext cx="2295144" cy="775597"/>
            </a:xfrm>
            <a:prstGeom prst="rect">
              <a:avLst/>
            </a:prstGeom>
            <a:noFill/>
          </p:spPr>
          <p:txBody>
            <a:bodyPr wrap="square" lIns="0" tIns="36576" rIns="0" bIns="0" rtlCol="0">
              <a:spAutoFit/>
            </a:bodyPr>
            <a:lstStyle/>
            <a:p>
              <a:pPr indent="685800">
                <a:buClr>
                  <a:schemeClr val="accent2"/>
                </a:buClr>
                <a:buSzPct val="70000"/>
              </a:pPr>
              <a:r>
                <a:rPr lang="en-US" sz="1600" dirty="0">
                  <a:solidFill>
                    <a:schemeClr val="bg1"/>
                  </a:solidFill>
                </a:rPr>
                <a:t>want a more data-driven approach to risk management.</a:t>
              </a:r>
            </a:p>
          </p:txBody>
        </p:sp>
        <p:sp>
          <p:nvSpPr>
            <p:cNvPr id="73" name="TextBox 72">
              <a:extLst>
                <a:ext uri="{FF2B5EF4-FFF2-40B4-BE49-F238E27FC236}">
                  <a16:creationId xmlns:a16="http://schemas.microsoft.com/office/drawing/2014/main" id="{0391EE17-1D68-0ABE-B9CC-BA5F52457DA9}"/>
                </a:ext>
              </a:extLst>
            </p:cNvPr>
            <p:cNvSpPr txBox="1"/>
            <p:nvPr/>
          </p:nvSpPr>
          <p:spPr>
            <a:xfrm>
              <a:off x="765366" y="3497596"/>
              <a:ext cx="2295144" cy="775597"/>
            </a:xfrm>
            <a:prstGeom prst="rect">
              <a:avLst/>
            </a:prstGeom>
            <a:noFill/>
          </p:spPr>
          <p:txBody>
            <a:bodyPr wrap="square" lIns="0" tIns="36576" rIns="0" bIns="0" rtlCol="0">
              <a:spAutoFit/>
            </a:bodyPr>
            <a:lstStyle/>
            <a:p>
              <a:pPr>
                <a:buClr>
                  <a:schemeClr val="accent2"/>
                </a:buClr>
                <a:buSzPct val="70000"/>
              </a:pPr>
              <a:r>
                <a:rPr lang="en-US" sz="1600" dirty="0">
                  <a:solidFill>
                    <a:schemeClr val="bg1"/>
                  </a:solidFill>
                </a:rPr>
                <a:t>Among CEOs looking to transform risk management,</a:t>
              </a:r>
            </a:p>
          </p:txBody>
        </p:sp>
        <p:sp>
          <p:nvSpPr>
            <p:cNvPr id="74" name="TextBox 73">
              <a:extLst>
                <a:ext uri="{FF2B5EF4-FFF2-40B4-BE49-F238E27FC236}">
                  <a16:creationId xmlns:a16="http://schemas.microsoft.com/office/drawing/2014/main" id="{7DA60A0F-C135-8C7F-BB38-866EE6137D02}"/>
                </a:ext>
              </a:extLst>
            </p:cNvPr>
            <p:cNvSpPr txBox="1"/>
            <p:nvPr/>
          </p:nvSpPr>
          <p:spPr>
            <a:xfrm>
              <a:off x="765366" y="4284402"/>
              <a:ext cx="736600" cy="467820"/>
            </a:xfrm>
            <a:prstGeom prst="rect">
              <a:avLst/>
            </a:prstGeom>
            <a:noFill/>
          </p:spPr>
          <p:txBody>
            <a:bodyPr wrap="square" lIns="0" tIns="36576" rIns="0" bIns="0" rtlCol="0">
              <a:spAutoFit/>
            </a:bodyPr>
            <a:lstStyle/>
            <a:p>
              <a:pPr>
                <a:buClr>
                  <a:schemeClr val="accent2"/>
                </a:buClr>
                <a:buSzPct val="70000"/>
              </a:pPr>
              <a:r>
                <a:rPr lang="en-US" sz="2800" dirty="0">
                  <a:solidFill>
                    <a:schemeClr val="tx2"/>
                  </a:solidFill>
                </a:rPr>
                <a:t>61%</a:t>
              </a:r>
            </a:p>
          </p:txBody>
        </p:sp>
        <p:sp>
          <p:nvSpPr>
            <p:cNvPr id="81" name="TextBox 80">
              <a:extLst>
                <a:ext uri="{FF2B5EF4-FFF2-40B4-BE49-F238E27FC236}">
                  <a16:creationId xmlns:a16="http://schemas.microsoft.com/office/drawing/2014/main" id="{46731E61-7D46-9CEC-74AA-79CEDB0EE481}"/>
                </a:ext>
              </a:extLst>
            </p:cNvPr>
            <p:cNvSpPr txBox="1"/>
            <p:nvPr/>
          </p:nvSpPr>
          <p:spPr>
            <a:xfrm>
              <a:off x="9101034" y="3497596"/>
              <a:ext cx="737182" cy="461665"/>
            </a:xfrm>
            <a:prstGeom prst="rect">
              <a:avLst/>
            </a:prstGeom>
            <a:noFill/>
          </p:spPr>
          <p:txBody>
            <a:bodyPr wrap="square" lIns="0" tIns="0" rIns="0" bIns="0" rtlCol="0">
              <a:spAutoFit/>
            </a:bodyPr>
            <a:lstStyle/>
            <a:p>
              <a:pPr>
                <a:buClr>
                  <a:schemeClr val="accent2"/>
                </a:buClr>
                <a:buSzPct val="70000"/>
              </a:pPr>
              <a:r>
                <a:rPr lang="en-US" sz="3000" dirty="0">
                  <a:solidFill>
                    <a:srgbClr val="FFE600"/>
                  </a:solidFill>
                </a:rPr>
                <a:t>66%</a:t>
              </a:r>
            </a:p>
          </p:txBody>
        </p:sp>
        <p:sp>
          <p:nvSpPr>
            <p:cNvPr id="82" name="Rectangle 81">
              <a:extLst>
                <a:ext uri="{FF2B5EF4-FFF2-40B4-BE49-F238E27FC236}">
                  <a16:creationId xmlns:a16="http://schemas.microsoft.com/office/drawing/2014/main" id="{EB9C4F28-1121-34A0-1E9A-DDFCAAA59D82}"/>
                </a:ext>
              </a:extLst>
            </p:cNvPr>
            <p:cNvSpPr/>
            <p:nvPr/>
          </p:nvSpPr>
          <p:spPr>
            <a:xfrm>
              <a:off x="9128928" y="3689582"/>
              <a:ext cx="2340865" cy="984885"/>
            </a:xfrm>
            <a:prstGeom prst="rect">
              <a:avLst/>
            </a:prstGeom>
          </p:spPr>
          <p:txBody>
            <a:bodyPr wrap="square" lIns="0" tIns="0" rIns="0" bIns="0">
              <a:spAutoFit/>
            </a:bodyPr>
            <a:lstStyle/>
            <a:p>
              <a:pPr indent="739775">
                <a:buClr>
                  <a:schemeClr val="accent2"/>
                </a:buClr>
                <a:buSzPct val="70000"/>
              </a:pPr>
              <a:r>
                <a:rPr lang="en-US" sz="1600" dirty="0">
                  <a:solidFill>
                    <a:schemeClr val="bg1"/>
                  </a:solidFill>
                </a:rPr>
                <a:t>of CEOs do not expect their company to grow revenue this year, while only</a:t>
              </a:r>
            </a:p>
          </p:txBody>
        </p:sp>
        <p:sp>
          <p:nvSpPr>
            <p:cNvPr id="78" name="Rectangle 77">
              <a:extLst>
                <a:ext uri="{FF2B5EF4-FFF2-40B4-BE49-F238E27FC236}">
                  <a16:creationId xmlns:a16="http://schemas.microsoft.com/office/drawing/2014/main" id="{C571F786-849E-FC0B-09EC-17B1606178A0}"/>
                </a:ext>
              </a:extLst>
            </p:cNvPr>
            <p:cNvSpPr/>
            <p:nvPr/>
          </p:nvSpPr>
          <p:spPr>
            <a:xfrm>
              <a:off x="9128924" y="4879757"/>
              <a:ext cx="2199239" cy="935641"/>
            </a:xfrm>
            <a:prstGeom prst="rect">
              <a:avLst/>
            </a:prstGeom>
          </p:spPr>
          <p:txBody>
            <a:bodyPr wrap="square" lIns="0" tIns="0" rIns="0" bIns="0">
              <a:spAutoFit/>
            </a:bodyPr>
            <a:lstStyle/>
            <a:p>
              <a:pPr indent="739775">
                <a:lnSpc>
                  <a:spcPct val="95000"/>
                </a:lnSpc>
                <a:buClr>
                  <a:schemeClr val="accent2"/>
                </a:buClr>
                <a:buSzPct val="70000"/>
              </a:pPr>
              <a:r>
                <a:rPr lang="en-US" sz="1600" dirty="0">
                  <a:solidFill>
                    <a:schemeClr val="bg1"/>
                  </a:solidFill>
                </a:rPr>
                <a:t> expect revenue growth this year to outperform last year’s growth.</a:t>
              </a:r>
            </a:p>
          </p:txBody>
        </p:sp>
        <p:sp>
          <p:nvSpPr>
            <p:cNvPr id="80" name="TextBox 79">
              <a:extLst>
                <a:ext uri="{FF2B5EF4-FFF2-40B4-BE49-F238E27FC236}">
                  <a16:creationId xmlns:a16="http://schemas.microsoft.com/office/drawing/2014/main" id="{B98D7A46-6CE5-B63C-BD81-0D657B7A564C}"/>
                </a:ext>
              </a:extLst>
            </p:cNvPr>
            <p:cNvSpPr txBox="1"/>
            <p:nvPr/>
          </p:nvSpPr>
          <p:spPr>
            <a:xfrm>
              <a:off x="9113235" y="4696378"/>
              <a:ext cx="737182" cy="461665"/>
            </a:xfrm>
            <a:prstGeom prst="rect">
              <a:avLst/>
            </a:prstGeom>
            <a:noFill/>
          </p:spPr>
          <p:txBody>
            <a:bodyPr wrap="square" lIns="0" tIns="0" rIns="0" bIns="0" rtlCol="0">
              <a:spAutoFit/>
            </a:bodyPr>
            <a:lstStyle/>
            <a:p>
              <a:pPr>
                <a:buClr>
                  <a:schemeClr val="accent2"/>
                </a:buClr>
                <a:buSzPct val="70000"/>
              </a:pPr>
              <a:r>
                <a:rPr lang="en-US" sz="3000" dirty="0">
                  <a:solidFill>
                    <a:srgbClr val="FFE600"/>
                  </a:solidFill>
                </a:rPr>
                <a:t>19%</a:t>
              </a:r>
            </a:p>
          </p:txBody>
        </p:sp>
        <p:sp>
          <p:nvSpPr>
            <p:cNvPr id="84" name="TextBox 83">
              <a:extLst>
                <a:ext uri="{FF2B5EF4-FFF2-40B4-BE49-F238E27FC236}">
                  <a16:creationId xmlns:a16="http://schemas.microsoft.com/office/drawing/2014/main" id="{414340AF-77B5-F42B-8EC8-7D5A9005E8F9}"/>
                </a:ext>
              </a:extLst>
            </p:cNvPr>
            <p:cNvSpPr txBox="1"/>
            <p:nvPr/>
          </p:nvSpPr>
          <p:spPr>
            <a:xfrm>
              <a:off x="6492480" y="3497596"/>
              <a:ext cx="850108" cy="461665"/>
            </a:xfrm>
            <a:prstGeom prst="rect">
              <a:avLst/>
            </a:prstGeom>
            <a:noFill/>
          </p:spPr>
          <p:txBody>
            <a:bodyPr wrap="square" lIns="0" tIns="0" rIns="0" bIns="0" rtlCol="0">
              <a:spAutoFit/>
            </a:bodyPr>
            <a:lstStyle/>
            <a:p>
              <a:pPr>
                <a:buClr>
                  <a:schemeClr val="accent2"/>
                </a:buClr>
                <a:buSzPct val="70000"/>
              </a:pPr>
              <a:r>
                <a:rPr lang="en-US" sz="3000" dirty="0">
                  <a:solidFill>
                    <a:srgbClr val="FFE600"/>
                  </a:solidFill>
                </a:rPr>
                <a:t>61%</a:t>
              </a:r>
            </a:p>
          </p:txBody>
        </p:sp>
        <p:sp>
          <p:nvSpPr>
            <p:cNvPr id="85" name="Rectangle 84">
              <a:extLst>
                <a:ext uri="{FF2B5EF4-FFF2-40B4-BE49-F238E27FC236}">
                  <a16:creationId xmlns:a16="http://schemas.microsoft.com/office/drawing/2014/main" id="{681752DB-19BD-3C75-89FF-7AC9C1A2AF16}"/>
                </a:ext>
              </a:extLst>
            </p:cNvPr>
            <p:cNvSpPr/>
            <p:nvPr/>
          </p:nvSpPr>
          <p:spPr>
            <a:xfrm>
              <a:off x="6492480" y="3689582"/>
              <a:ext cx="2004217" cy="1231106"/>
            </a:xfrm>
            <a:prstGeom prst="rect">
              <a:avLst/>
            </a:prstGeom>
          </p:spPr>
          <p:txBody>
            <a:bodyPr wrap="square" lIns="0" tIns="0" rIns="0" bIns="0">
              <a:spAutoFit/>
            </a:bodyPr>
            <a:lstStyle/>
            <a:p>
              <a:pPr indent="739775">
                <a:buClr>
                  <a:schemeClr val="accent2"/>
                </a:buClr>
                <a:buSzPct val="70000"/>
              </a:pPr>
              <a:r>
                <a:rPr lang="en-US" sz="1600" dirty="0">
                  <a:solidFill>
                    <a:schemeClr val="bg1"/>
                  </a:solidFill>
                </a:rPr>
                <a:t> of CEOs say they are expecting to make significant investments into data and technology.</a:t>
              </a:r>
            </a:p>
          </p:txBody>
        </p:sp>
        <p:sp>
          <p:nvSpPr>
            <p:cNvPr id="87" name="TextBox 86">
              <a:extLst>
                <a:ext uri="{FF2B5EF4-FFF2-40B4-BE49-F238E27FC236}">
                  <a16:creationId xmlns:a16="http://schemas.microsoft.com/office/drawing/2014/main" id="{E1BDABA5-7258-3365-B686-C62D0D055605}"/>
                </a:ext>
              </a:extLst>
            </p:cNvPr>
            <p:cNvSpPr txBox="1"/>
            <p:nvPr/>
          </p:nvSpPr>
          <p:spPr>
            <a:xfrm>
              <a:off x="3573179" y="3497598"/>
              <a:ext cx="772205" cy="461665"/>
            </a:xfrm>
            <a:prstGeom prst="rect">
              <a:avLst/>
            </a:prstGeom>
            <a:noFill/>
          </p:spPr>
          <p:txBody>
            <a:bodyPr wrap="square" lIns="0" tIns="0" rIns="0" bIns="0" rtlCol="0">
              <a:spAutoFit/>
            </a:bodyPr>
            <a:lstStyle/>
            <a:p>
              <a:pPr>
                <a:buClr>
                  <a:schemeClr val="accent2"/>
                </a:buClr>
                <a:buSzPct val="70000"/>
              </a:pPr>
              <a:r>
                <a:rPr lang="en-US" sz="3000" dirty="0">
                  <a:solidFill>
                    <a:schemeClr val="tx2"/>
                  </a:solidFill>
                </a:rPr>
                <a:t>53%</a:t>
              </a:r>
            </a:p>
          </p:txBody>
        </p:sp>
        <p:sp>
          <p:nvSpPr>
            <p:cNvPr id="88" name="Rectangle 87">
              <a:extLst>
                <a:ext uri="{FF2B5EF4-FFF2-40B4-BE49-F238E27FC236}">
                  <a16:creationId xmlns:a16="http://schemas.microsoft.com/office/drawing/2014/main" id="{6EE467A2-D46D-F192-64EB-76A0A04FFFEE}"/>
                </a:ext>
              </a:extLst>
            </p:cNvPr>
            <p:cNvSpPr/>
            <p:nvPr/>
          </p:nvSpPr>
          <p:spPr>
            <a:xfrm>
              <a:off x="3554368" y="3689582"/>
              <a:ext cx="2298790" cy="1231106"/>
            </a:xfrm>
            <a:prstGeom prst="rect">
              <a:avLst/>
            </a:prstGeom>
          </p:spPr>
          <p:txBody>
            <a:bodyPr wrap="square" lIns="0" tIns="0" rIns="0" bIns="0">
              <a:spAutoFit/>
            </a:bodyPr>
            <a:lstStyle/>
            <a:p>
              <a:pPr indent="739775">
                <a:buClr>
                  <a:schemeClr val="accent2"/>
                </a:buClr>
                <a:buSzPct val="70000"/>
              </a:pPr>
              <a:r>
                <a:rPr lang="en-US" sz="1600" dirty="0">
                  <a:solidFill>
                    <a:schemeClr val="bg1"/>
                  </a:solidFill>
                </a:rPr>
                <a:t> of CEOs anticipate launching a significant cost reduction effort in the next 12 months.</a:t>
              </a:r>
            </a:p>
          </p:txBody>
        </p:sp>
        <p:sp>
          <p:nvSpPr>
            <p:cNvPr id="89" name="TextBox 88">
              <a:extLst>
                <a:ext uri="{FF2B5EF4-FFF2-40B4-BE49-F238E27FC236}">
                  <a16:creationId xmlns:a16="http://schemas.microsoft.com/office/drawing/2014/main" id="{51EB9525-14B6-60F9-578B-BC0D9AC16100}"/>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EY CEO Imperative Survey, 2021. 	</a:t>
              </a:r>
            </a:p>
          </p:txBody>
        </p:sp>
      </p:grpSp>
    </p:spTree>
    <p:extLst>
      <p:ext uri="{BB962C8B-B14F-4D97-AF65-F5344CB8AC3E}">
        <p14:creationId xmlns:p14="http://schemas.microsoft.com/office/powerpoint/2010/main" val="33577738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1336620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a:xfrm>
            <a:off x="609920" y="294200"/>
            <a:ext cx="10978515" cy="590400"/>
          </a:xfrm>
        </p:spPr>
        <p:txBody>
          <a:bodyPr/>
          <a:lstStyle/>
          <a:p>
            <a:r>
              <a:rPr lang="en-US" dirty="0">
                <a:solidFill>
                  <a:srgbClr val="FFE600"/>
                </a:solidFill>
              </a:rPr>
              <a:t>Technology is a tool! </a:t>
            </a:r>
            <a:r>
              <a:rPr lang="en-US" dirty="0"/>
              <a:t>Understanding how a new technology fits into your broader transformation journey is key</a:t>
            </a:r>
          </a:p>
        </p:txBody>
      </p:sp>
      <p:graphicFrame>
        <p:nvGraphicFramePr>
          <p:cNvPr id="11" name="Table 4">
            <a:extLst>
              <a:ext uri="{FF2B5EF4-FFF2-40B4-BE49-F238E27FC236}">
                <a16:creationId xmlns:a16="http://schemas.microsoft.com/office/drawing/2014/main" id="{175A2676-749F-708C-2AB1-2F56D90A3DD5}"/>
              </a:ext>
            </a:extLst>
          </p:cNvPr>
          <p:cNvGraphicFramePr>
            <a:graphicFrameLocks noGrp="1"/>
          </p:cNvGraphicFramePr>
          <p:nvPr>
            <p:extLst>
              <p:ext uri="{D42A27DB-BD31-4B8C-83A1-F6EECF244321}">
                <p14:modId xmlns:p14="http://schemas.microsoft.com/office/powerpoint/2010/main" val="4183053911"/>
              </p:ext>
            </p:extLst>
          </p:nvPr>
        </p:nvGraphicFramePr>
        <p:xfrm>
          <a:off x="609920" y="1759744"/>
          <a:ext cx="10981947" cy="4023360"/>
        </p:xfrm>
        <a:graphic>
          <a:graphicData uri="http://schemas.openxmlformats.org/drawingml/2006/table">
            <a:tbl>
              <a:tblPr firstRow="1" bandRow="1">
                <a:tableStyleId>{5C22544A-7EE6-4342-B048-85BDC9FD1C3A}</a:tableStyleId>
              </a:tblPr>
              <a:tblGrid>
                <a:gridCol w="1469251">
                  <a:extLst>
                    <a:ext uri="{9D8B030D-6E8A-4147-A177-3AD203B41FA5}">
                      <a16:colId xmlns:a16="http://schemas.microsoft.com/office/drawing/2014/main" val="3216675763"/>
                    </a:ext>
                  </a:extLst>
                </a:gridCol>
                <a:gridCol w="2378174">
                  <a:extLst>
                    <a:ext uri="{9D8B030D-6E8A-4147-A177-3AD203B41FA5}">
                      <a16:colId xmlns:a16="http://schemas.microsoft.com/office/drawing/2014/main" val="3126837828"/>
                    </a:ext>
                  </a:extLst>
                </a:gridCol>
                <a:gridCol w="2378174">
                  <a:extLst>
                    <a:ext uri="{9D8B030D-6E8A-4147-A177-3AD203B41FA5}">
                      <a16:colId xmlns:a16="http://schemas.microsoft.com/office/drawing/2014/main" val="3115035015"/>
                    </a:ext>
                  </a:extLst>
                </a:gridCol>
                <a:gridCol w="2378174">
                  <a:extLst>
                    <a:ext uri="{9D8B030D-6E8A-4147-A177-3AD203B41FA5}">
                      <a16:colId xmlns:a16="http://schemas.microsoft.com/office/drawing/2014/main" val="4072013920"/>
                    </a:ext>
                  </a:extLst>
                </a:gridCol>
                <a:gridCol w="2378174">
                  <a:extLst>
                    <a:ext uri="{9D8B030D-6E8A-4147-A177-3AD203B41FA5}">
                      <a16:colId xmlns:a16="http://schemas.microsoft.com/office/drawing/2014/main" val="4059992616"/>
                    </a:ext>
                  </a:extLst>
                </a:gridCol>
              </a:tblGrid>
              <a:tr h="822960">
                <a:tc>
                  <a:txBody>
                    <a:bodyPr/>
                    <a:lstStyle/>
                    <a:p>
                      <a:endParaRPr lang="en-IN" sz="1400" dirty="0">
                        <a:solidFill>
                          <a:schemeClr val="tx1"/>
                        </a:solidFill>
                      </a:endParaRP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400" b="1" dirty="0">
                          <a:solidFill>
                            <a:schemeClr val="tx1"/>
                          </a:solidFill>
                        </a:rPr>
                        <a:t>Optimize outside counsel management</a:t>
                      </a:r>
                    </a:p>
                  </a:txBody>
                  <a:tcPr marL="45720" marR="45720" anchor="ctr">
                    <a:lnL w="9525" cap="flat" cmpd="sng" algn="ctr">
                      <a:solidFill>
                        <a:srgbClr val="C4C4CD"/>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IN" sz="1400" b="1" dirty="0">
                          <a:solidFill>
                            <a:schemeClr val="tx1"/>
                          </a:solidFill>
                        </a:rPr>
                        <a:t>Insource tasks previously done by outside counse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1" kern="1200" dirty="0">
                          <a:solidFill>
                            <a:schemeClr val="tx1"/>
                          </a:solidFill>
                          <a:latin typeface="+mn-lt"/>
                          <a:ea typeface="+mn-ea"/>
                          <a:cs typeface="+mn-cs"/>
                        </a:rPr>
                        <a:t>Digitize and optimize</a:t>
                      </a:r>
                      <a:r>
                        <a:rPr lang="en-IN" sz="1400" b="1" kern="1200" dirty="0">
                          <a:solidFill>
                            <a:schemeClr val="tx1"/>
                          </a:solidFill>
                          <a:latin typeface="+mn-lt"/>
                          <a:ea typeface="+mn-ea"/>
                          <a:cs typeface="+mn-cs"/>
                        </a:rPr>
                        <a:t> </a:t>
                      </a:r>
                      <a:r>
                        <a:rPr lang="en-IN" sz="1400" b="1" dirty="0">
                          <a:solidFill>
                            <a:schemeClr val="tx1"/>
                          </a:solidFill>
                        </a:rPr>
                        <a:t>internal processe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IN" sz="1400" b="1" dirty="0">
                          <a:solidFill>
                            <a:schemeClr val="tx1"/>
                          </a:solidFill>
                        </a:rPr>
                        <a:t>Re-evaluate sourcing strategies</a:t>
                      </a:r>
                    </a:p>
                  </a:txBody>
                  <a:tcPr marL="45720" marR="45720" anchor="ctr">
                    <a:lnL w="9525" cap="flat" cmpd="sng" algn="ctr">
                      <a:solidFill>
                        <a:schemeClr val="bg1"/>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80226910"/>
                  </a:ext>
                </a:extLst>
              </a:tr>
              <a:tr h="1143000">
                <a:tc>
                  <a:txBody>
                    <a:bodyPr/>
                    <a:lstStyle/>
                    <a:p>
                      <a:r>
                        <a:rPr lang="en-IN" sz="1400" b="1" dirty="0">
                          <a:solidFill>
                            <a:schemeClr val="tx1"/>
                          </a:solidFill>
                        </a:rPr>
                        <a:t>Strategies often deployed</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82880" indent="-182880">
                        <a:buClr>
                          <a:schemeClr val="tx2"/>
                        </a:buClr>
                        <a:buSzPct val="100000"/>
                        <a:buFont typeface="EYInterstate" panose="02000503020000020004" pitchFamily="2" charset="0"/>
                        <a:buChar char="•"/>
                      </a:pPr>
                      <a:r>
                        <a:rPr lang="en-IN" sz="1200" dirty="0">
                          <a:solidFill>
                            <a:schemeClr val="bg1"/>
                          </a:solidFill>
                        </a:rPr>
                        <a:t>Rate freezes</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dirty="0">
                          <a:solidFill>
                            <a:schemeClr val="bg1"/>
                          </a:solidFill>
                        </a:rPr>
                        <a:t>Panels</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dirty="0">
                          <a:solidFill>
                            <a:schemeClr val="bg1"/>
                          </a:solidFill>
                        </a:rPr>
                        <a:t>Outside counsel guidelines</a:t>
                      </a:r>
                    </a:p>
                    <a:p>
                      <a:pPr marL="182880" indent="-182880">
                        <a:buClr>
                          <a:schemeClr val="tx2"/>
                        </a:buClr>
                        <a:buSzPct val="100000"/>
                        <a:buFont typeface="EYInterstate" panose="02000503020000020004" pitchFamily="2" charset="0"/>
                        <a:buChar char="•"/>
                      </a:pPr>
                      <a:r>
                        <a:rPr lang="en-IN" sz="1200" dirty="0">
                          <a:solidFill>
                            <a:schemeClr val="bg1"/>
                          </a:solidFill>
                        </a:rPr>
                        <a:t>Performance management</a:t>
                      </a:r>
                    </a:p>
                    <a:p>
                      <a:pPr marL="182880" indent="-182880">
                        <a:buClr>
                          <a:schemeClr val="tx2"/>
                        </a:buClr>
                        <a:buSzPct val="100000"/>
                        <a:buFont typeface="EYInterstate" panose="02000503020000020004" pitchFamily="2" charset="0"/>
                        <a:buChar char="•"/>
                      </a:pPr>
                      <a:r>
                        <a:rPr lang="en-IN" sz="1200" dirty="0">
                          <a:solidFill>
                            <a:schemeClr val="bg1"/>
                          </a:solidFill>
                        </a:rPr>
                        <a:t>Benchmarking</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buClr>
                          <a:schemeClr val="tx2"/>
                        </a:buClr>
                        <a:buSzPct val="100000"/>
                        <a:buFont typeface="EYInterstate" panose="02000503020000020004" pitchFamily="2" charset="0"/>
                        <a:buChar char="•"/>
                      </a:pPr>
                      <a:r>
                        <a:rPr lang="en-IN" sz="1200" dirty="0">
                          <a:solidFill>
                            <a:schemeClr val="bg1"/>
                          </a:solidFill>
                        </a:rPr>
                        <a:t>Identify tasks that can be shifted to in-house resources</a:t>
                      </a:r>
                    </a:p>
                    <a:p>
                      <a:pPr marL="182880" indent="-182880">
                        <a:buClr>
                          <a:schemeClr val="tx2"/>
                        </a:buClr>
                        <a:buSzPct val="100000"/>
                        <a:buFont typeface="EYInterstate" panose="02000503020000020004" pitchFamily="2" charset="0"/>
                        <a:buChar char="•"/>
                      </a:pPr>
                      <a:r>
                        <a:rPr lang="en-IN" sz="1200" dirty="0">
                          <a:solidFill>
                            <a:schemeClr val="bg1"/>
                          </a:solidFill>
                        </a:rPr>
                        <a:t>Hire a wider range of talent, including more junior staff</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buClr>
                          <a:schemeClr val="tx2"/>
                        </a:buClr>
                        <a:buSzPct val="100000"/>
                        <a:buFont typeface="EYInterstate" panose="02000503020000020004" pitchFamily="2" charset="0"/>
                        <a:buChar char="•"/>
                      </a:pPr>
                      <a:r>
                        <a:rPr lang="en-IN" sz="1200" dirty="0">
                          <a:solidFill>
                            <a:schemeClr val="bg1"/>
                          </a:solidFill>
                        </a:rPr>
                        <a:t>Process improvement</a:t>
                      </a:r>
                    </a:p>
                    <a:p>
                      <a:pPr marL="182880" indent="-182880">
                        <a:buClr>
                          <a:schemeClr val="tx2"/>
                        </a:buClr>
                        <a:buSzPct val="100000"/>
                        <a:buFont typeface="EYInterstate" panose="02000503020000020004" pitchFamily="2" charset="0"/>
                        <a:buChar char="•"/>
                      </a:pPr>
                      <a:r>
                        <a:rPr lang="en-IN" sz="1200" dirty="0">
                          <a:solidFill>
                            <a:schemeClr val="bg1"/>
                          </a:solidFill>
                        </a:rPr>
                        <a:t>Automation</a:t>
                      </a:r>
                    </a:p>
                    <a:p>
                      <a:pPr marL="182880" indent="-182880">
                        <a:buClr>
                          <a:schemeClr val="tx2"/>
                        </a:buClr>
                        <a:buSzPct val="100000"/>
                        <a:buFont typeface="EYInterstate" panose="02000503020000020004" pitchFamily="2" charset="0"/>
                        <a:buChar char="•"/>
                      </a:pPr>
                      <a:r>
                        <a:rPr lang="en-IN" sz="1200" dirty="0">
                          <a:solidFill>
                            <a:schemeClr val="bg1"/>
                          </a:solidFill>
                        </a:rPr>
                        <a:t>Increase technology</a:t>
                      </a:r>
                    </a:p>
                    <a:p>
                      <a:pPr marL="182880" indent="-182880">
                        <a:buClr>
                          <a:schemeClr val="tx2"/>
                        </a:buClr>
                        <a:buSzPct val="100000"/>
                        <a:buFont typeface="EYInterstate" panose="02000503020000020004" pitchFamily="2" charset="0"/>
                        <a:buChar char="•"/>
                      </a:pPr>
                      <a:r>
                        <a:rPr lang="en-IN" sz="1200" dirty="0">
                          <a:solidFill>
                            <a:schemeClr val="bg1"/>
                          </a:solidFill>
                        </a:rPr>
                        <a:t>Creation of internal KPIs</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buClr>
                          <a:schemeClr val="tx2"/>
                        </a:buClr>
                        <a:buSzPct val="100000"/>
                        <a:buFont typeface="EYInterstate" panose="02000503020000020004" pitchFamily="2" charset="0"/>
                        <a:buChar char="•"/>
                      </a:pPr>
                      <a:r>
                        <a:rPr lang="es-US" sz="1200" noProof="0" dirty="0">
                          <a:solidFill>
                            <a:schemeClr val="bg1"/>
                          </a:solidFill>
                        </a:rPr>
                        <a:t>Centers</a:t>
                      </a:r>
                      <a:r>
                        <a:rPr lang="en-IN" sz="1200" dirty="0">
                          <a:solidFill>
                            <a:schemeClr val="bg1"/>
                          </a:solidFill>
                        </a:rPr>
                        <a:t> of excellence</a:t>
                      </a:r>
                    </a:p>
                    <a:p>
                      <a:pPr marL="182880" indent="-182880">
                        <a:buClr>
                          <a:schemeClr val="tx2"/>
                        </a:buClr>
                        <a:buSzPct val="100000"/>
                        <a:buFont typeface="EYInterstate" panose="02000503020000020004" pitchFamily="2" charset="0"/>
                        <a:buChar char="•"/>
                      </a:pPr>
                      <a:r>
                        <a:rPr lang="en-IN" sz="1200" dirty="0">
                          <a:solidFill>
                            <a:schemeClr val="bg1"/>
                          </a:solidFill>
                        </a:rPr>
                        <a:t>Outsourcing portfolios of work</a:t>
                      </a:r>
                    </a:p>
                    <a:p>
                      <a:pPr marL="182880" indent="-182880">
                        <a:buClr>
                          <a:schemeClr val="tx2"/>
                        </a:buClr>
                        <a:buSzPct val="100000"/>
                        <a:buFont typeface="EYInterstate" panose="02000503020000020004" pitchFamily="2" charset="0"/>
                        <a:buChar char="•"/>
                      </a:pPr>
                      <a:r>
                        <a:rPr lang="en-IN" sz="1200" dirty="0">
                          <a:solidFill>
                            <a:schemeClr val="bg1"/>
                          </a:solidFill>
                        </a:rPr>
                        <a:t>Increased use of alternative providers</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9574449"/>
                  </a:ext>
                </a:extLst>
              </a:tr>
              <a:tr h="914400">
                <a:tc>
                  <a:txBody>
                    <a:bodyPr/>
                    <a:lstStyle/>
                    <a:p>
                      <a:r>
                        <a:rPr lang="en-IN" sz="1400" b="1" dirty="0">
                          <a:solidFill>
                            <a:schemeClr val="tx1"/>
                          </a:solidFill>
                        </a:rPr>
                        <a:t>Potential cost efficiency</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endParaRPr lang="en-IN" sz="1200" dirty="0">
                        <a:solidFill>
                          <a:schemeClr val="tx2">
                            <a:lumMod val="20000"/>
                            <a:lumOff val="80000"/>
                          </a:schemeClr>
                        </a:solidFill>
                      </a:endParaRP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400" dirty="0">
                        <a:solidFill>
                          <a:schemeClr val="tx2">
                            <a:lumMod val="20000"/>
                            <a:lumOff val="80000"/>
                          </a:schemeClr>
                        </a:solidFill>
                      </a:endParaRP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400" dirty="0">
                        <a:solidFill>
                          <a:schemeClr val="tx2">
                            <a:lumMod val="20000"/>
                            <a:lumOff val="80000"/>
                          </a:schemeClr>
                        </a:solidFill>
                      </a:endParaRP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400" dirty="0">
                        <a:solidFill>
                          <a:schemeClr val="tx2">
                            <a:lumMod val="20000"/>
                            <a:lumOff val="80000"/>
                          </a:schemeClr>
                        </a:solidFill>
                      </a:endParaRP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5486989"/>
                  </a:ext>
                </a:extLst>
              </a:tr>
              <a:tr h="1143000">
                <a:tc>
                  <a:txBody>
                    <a:bodyPr/>
                    <a:lstStyle/>
                    <a:p>
                      <a:r>
                        <a:rPr lang="en-IN" sz="1400" b="1" dirty="0">
                          <a:solidFill>
                            <a:schemeClr val="tx1"/>
                          </a:solidFill>
                        </a:rPr>
                        <a:t>Challenges often faced</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Limited resources to manage vendors</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Large number of providers</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Lack of KPIs to manage vendors</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Increasing headcounts</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Increasing work volumes </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Rising internal costs</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Talent challenges</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Limited resources</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Limited technology budget</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Lack of process optimization skills</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Change management to adopt new models</a:t>
                      </a:r>
                    </a:p>
                    <a:p>
                      <a:pPr marL="182880" marR="0" lvl="0" indent="-182880" algn="l" defTabSz="913943"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Benchmarks to identify appropriate sourcing strategy</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004296"/>
                  </a:ext>
                </a:extLst>
              </a:tr>
            </a:tbl>
          </a:graphicData>
        </a:graphic>
      </p:graphicFrame>
      <p:grpSp>
        <p:nvGrpSpPr>
          <p:cNvPr id="28" name="Group 27">
            <a:extLst>
              <a:ext uri="{FF2B5EF4-FFF2-40B4-BE49-F238E27FC236}">
                <a16:creationId xmlns:a16="http://schemas.microsoft.com/office/drawing/2014/main" id="{5DF696A7-216B-41A9-ADC8-771037CA2499}"/>
              </a:ext>
            </a:extLst>
          </p:cNvPr>
          <p:cNvGrpSpPr/>
          <p:nvPr/>
        </p:nvGrpSpPr>
        <p:grpSpPr>
          <a:xfrm>
            <a:off x="2146128" y="4004890"/>
            <a:ext cx="1781931" cy="350865"/>
            <a:chOff x="2146128" y="3896033"/>
            <a:chExt cx="1781931" cy="350865"/>
          </a:xfrm>
        </p:grpSpPr>
        <p:grpSp>
          <p:nvGrpSpPr>
            <p:cNvPr id="12" name="Group 11">
              <a:extLst>
                <a:ext uri="{FF2B5EF4-FFF2-40B4-BE49-F238E27FC236}">
                  <a16:creationId xmlns:a16="http://schemas.microsoft.com/office/drawing/2014/main" id="{D7C09B8E-4117-3FB0-3D80-28EE40BDAE53}"/>
                </a:ext>
              </a:extLst>
            </p:cNvPr>
            <p:cNvGrpSpPr/>
            <p:nvPr/>
          </p:nvGrpSpPr>
          <p:grpSpPr>
            <a:xfrm>
              <a:off x="2146128" y="3923034"/>
              <a:ext cx="296864" cy="296863"/>
              <a:chOff x="4156075" y="5638800"/>
              <a:chExt cx="419101" cy="419100"/>
            </a:xfrm>
          </p:grpSpPr>
          <p:sp>
            <p:nvSpPr>
              <p:cNvPr id="13" name="Oval 12">
                <a:extLst>
                  <a:ext uri="{FF2B5EF4-FFF2-40B4-BE49-F238E27FC236}">
                    <a16:creationId xmlns:a16="http://schemas.microsoft.com/office/drawing/2014/main" id="{069E27AE-9EF8-3BF1-B2FB-BB1538DD4981}"/>
                  </a:ext>
                </a:extLst>
              </p:cNvPr>
              <p:cNvSpPr/>
              <p:nvPr/>
            </p:nvSpPr>
            <p:spPr>
              <a:xfrm>
                <a:off x="4156076" y="5638800"/>
                <a:ext cx="419100" cy="419100"/>
              </a:xfrm>
              <a:prstGeom prst="ellips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1200" dirty="0">
                  <a:solidFill>
                    <a:schemeClr val="tx1"/>
                  </a:solidFill>
                </a:endParaRPr>
              </a:p>
            </p:txBody>
          </p:sp>
          <p:sp>
            <p:nvSpPr>
              <p:cNvPr id="14" name="Partial Circle 13">
                <a:extLst>
                  <a:ext uri="{FF2B5EF4-FFF2-40B4-BE49-F238E27FC236}">
                    <a16:creationId xmlns:a16="http://schemas.microsoft.com/office/drawing/2014/main" id="{FD54B225-0731-E712-B9DF-FEE9F0CC0C53}"/>
                  </a:ext>
                </a:extLst>
              </p:cNvPr>
              <p:cNvSpPr/>
              <p:nvPr/>
            </p:nvSpPr>
            <p:spPr>
              <a:xfrm>
                <a:off x="4156075" y="5638800"/>
                <a:ext cx="419100" cy="419100"/>
              </a:xfrm>
              <a:prstGeom prst="pie">
                <a:avLst>
                  <a:gd name="adj1" fmla="val 16141240"/>
                  <a:gd name="adj2" fmla="val 5369139"/>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1200" dirty="0">
                  <a:solidFill>
                    <a:schemeClr val="tx1"/>
                  </a:solidFill>
                </a:endParaRPr>
              </a:p>
            </p:txBody>
          </p:sp>
        </p:grpSp>
        <p:sp>
          <p:nvSpPr>
            <p:cNvPr id="15" name="TextBox 14">
              <a:extLst>
                <a:ext uri="{FF2B5EF4-FFF2-40B4-BE49-F238E27FC236}">
                  <a16:creationId xmlns:a16="http://schemas.microsoft.com/office/drawing/2014/main" id="{C8F67012-39FE-D270-C9F3-32CDDB694468}"/>
                </a:ext>
              </a:extLst>
            </p:cNvPr>
            <p:cNvSpPr txBox="1"/>
            <p:nvPr/>
          </p:nvSpPr>
          <p:spPr>
            <a:xfrm>
              <a:off x="2502053" y="3896033"/>
              <a:ext cx="1426006" cy="350865"/>
            </a:xfrm>
            <a:prstGeom prst="rect">
              <a:avLst/>
            </a:prstGeom>
            <a:noFill/>
          </p:spPr>
          <p:txBody>
            <a:bodyPr wrap="square" lIns="0" tIns="36576" rIns="0" bIns="0" rtlCol="0" anchor="ctr">
              <a:spAutoFit/>
            </a:bodyPr>
            <a:lstStyle/>
            <a:p>
              <a:pPr>
                <a:lnSpc>
                  <a:spcPct val="85000"/>
                </a:lnSpc>
                <a:buClr>
                  <a:schemeClr val="accent2"/>
                </a:buClr>
                <a:buSzPct val="70000"/>
              </a:pPr>
              <a:r>
                <a:rPr lang="en-IN" sz="1200" dirty="0">
                  <a:solidFill>
                    <a:schemeClr val="bg1"/>
                  </a:solidFill>
                </a:rPr>
                <a:t>Moderate cost</a:t>
              </a:r>
            </a:p>
            <a:p>
              <a:pPr>
                <a:lnSpc>
                  <a:spcPct val="85000"/>
                </a:lnSpc>
                <a:buClr>
                  <a:schemeClr val="accent2"/>
                </a:buClr>
                <a:buSzPct val="70000"/>
              </a:pPr>
              <a:r>
                <a:rPr lang="en-IN" sz="1200" dirty="0">
                  <a:solidFill>
                    <a:schemeClr val="bg1"/>
                  </a:solidFill>
                </a:rPr>
                <a:t>efficiency potential </a:t>
              </a:r>
            </a:p>
          </p:txBody>
        </p:sp>
      </p:grpSp>
      <p:grpSp>
        <p:nvGrpSpPr>
          <p:cNvPr id="27" name="Group 26">
            <a:extLst>
              <a:ext uri="{FF2B5EF4-FFF2-40B4-BE49-F238E27FC236}">
                <a16:creationId xmlns:a16="http://schemas.microsoft.com/office/drawing/2014/main" id="{FD8509CC-AEF0-CA41-7614-C16D4458F86F}"/>
              </a:ext>
            </a:extLst>
          </p:cNvPr>
          <p:cNvGrpSpPr/>
          <p:nvPr/>
        </p:nvGrpSpPr>
        <p:grpSpPr>
          <a:xfrm>
            <a:off x="4555068" y="4004890"/>
            <a:ext cx="1801146" cy="350865"/>
            <a:chOff x="4555068" y="3896033"/>
            <a:chExt cx="1801146" cy="350865"/>
          </a:xfrm>
        </p:grpSpPr>
        <p:grpSp>
          <p:nvGrpSpPr>
            <p:cNvPr id="16" name="Group 15">
              <a:extLst>
                <a:ext uri="{FF2B5EF4-FFF2-40B4-BE49-F238E27FC236}">
                  <a16:creationId xmlns:a16="http://schemas.microsoft.com/office/drawing/2014/main" id="{5EED3BE6-C622-3832-DC6F-019B67E9E85E}"/>
                </a:ext>
              </a:extLst>
            </p:cNvPr>
            <p:cNvGrpSpPr/>
            <p:nvPr/>
          </p:nvGrpSpPr>
          <p:grpSpPr>
            <a:xfrm>
              <a:off x="4555068" y="3923034"/>
              <a:ext cx="296863" cy="296863"/>
              <a:chOff x="4156075" y="5638800"/>
              <a:chExt cx="419100" cy="419100"/>
            </a:xfrm>
          </p:grpSpPr>
          <p:sp>
            <p:nvSpPr>
              <p:cNvPr id="17" name="Oval 16">
                <a:extLst>
                  <a:ext uri="{FF2B5EF4-FFF2-40B4-BE49-F238E27FC236}">
                    <a16:creationId xmlns:a16="http://schemas.microsoft.com/office/drawing/2014/main" id="{7C9E9352-F79B-E092-4BAA-D352AB762DDA}"/>
                  </a:ext>
                </a:extLst>
              </p:cNvPr>
              <p:cNvSpPr/>
              <p:nvPr/>
            </p:nvSpPr>
            <p:spPr>
              <a:xfrm>
                <a:off x="4156075" y="5638800"/>
                <a:ext cx="419100" cy="419100"/>
              </a:xfrm>
              <a:prstGeom prst="ellips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1200" dirty="0">
                  <a:solidFill>
                    <a:schemeClr val="tx1"/>
                  </a:solidFill>
                </a:endParaRPr>
              </a:p>
            </p:txBody>
          </p:sp>
          <p:sp>
            <p:nvSpPr>
              <p:cNvPr id="18" name="Partial Circle 17">
                <a:extLst>
                  <a:ext uri="{FF2B5EF4-FFF2-40B4-BE49-F238E27FC236}">
                    <a16:creationId xmlns:a16="http://schemas.microsoft.com/office/drawing/2014/main" id="{C5E73C54-313C-328D-2C66-1368C42D001F}"/>
                  </a:ext>
                </a:extLst>
              </p:cNvPr>
              <p:cNvSpPr/>
              <p:nvPr/>
            </p:nvSpPr>
            <p:spPr>
              <a:xfrm>
                <a:off x="4156075" y="5638800"/>
                <a:ext cx="419100" cy="419100"/>
              </a:xfrm>
              <a:prstGeom prst="pie">
                <a:avLst>
                  <a:gd name="adj1" fmla="val 16141240"/>
                  <a:gd name="adj2" fmla="val 5369139"/>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1200" dirty="0">
                  <a:solidFill>
                    <a:schemeClr val="tx1"/>
                  </a:solidFill>
                </a:endParaRPr>
              </a:p>
            </p:txBody>
          </p:sp>
        </p:grpSp>
        <p:sp>
          <p:nvSpPr>
            <p:cNvPr id="19" name="TextBox 18">
              <a:extLst>
                <a:ext uri="{FF2B5EF4-FFF2-40B4-BE49-F238E27FC236}">
                  <a16:creationId xmlns:a16="http://schemas.microsoft.com/office/drawing/2014/main" id="{F33B0825-0DB7-4D52-BDAB-0DF31B30B3EC}"/>
                </a:ext>
              </a:extLst>
            </p:cNvPr>
            <p:cNvSpPr txBox="1"/>
            <p:nvPr/>
          </p:nvSpPr>
          <p:spPr>
            <a:xfrm>
              <a:off x="4920827" y="3896033"/>
              <a:ext cx="1435387" cy="350865"/>
            </a:xfrm>
            <a:prstGeom prst="rect">
              <a:avLst/>
            </a:prstGeom>
            <a:noFill/>
          </p:spPr>
          <p:txBody>
            <a:bodyPr wrap="square" lIns="0" tIns="36576" rIns="0" bIns="0" rtlCol="0" anchor="ctr">
              <a:spAutoFit/>
            </a:bodyPr>
            <a:lstStyle/>
            <a:p>
              <a:pPr>
                <a:lnSpc>
                  <a:spcPct val="85000"/>
                </a:lnSpc>
                <a:buClr>
                  <a:schemeClr val="accent2"/>
                </a:buClr>
                <a:buSzPct val="70000"/>
              </a:pPr>
              <a:r>
                <a:rPr lang="en-IN" sz="1200" dirty="0">
                  <a:solidFill>
                    <a:schemeClr val="bg1"/>
                  </a:solidFill>
                </a:rPr>
                <a:t>Moderate cost</a:t>
              </a:r>
            </a:p>
            <a:p>
              <a:pPr>
                <a:lnSpc>
                  <a:spcPct val="85000"/>
                </a:lnSpc>
                <a:buClr>
                  <a:schemeClr val="accent2"/>
                </a:buClr>
                <a:buSzPct val="70000"/>
              </a:pPr>
              <a:r>
                <a:rPr lang="en-IN" sz="1200" dirty="0">
                  <a:solidFill>
                    <a:schemeClr val="bg1"/>
                  </a:solidFill>
                </a:rPr>
                <a:t>efficiency potential</a:t>
              </a:r>
            </a:p>
          </p:txBody>
        </p:sp>
      </p:grpSp>
      <p:grpSp>
        <p:nvGrpSpPr>
          <p:cNvPr id="24" name="Group 23">
            <a:extLst>
              <a:ext uri="{FF2B5EF4-FFF2-40B4-BE49-F238E27FC236}">
                <a16:creationId xmlns:a16="http://schemas.microsoft.com/office/drawing/2014/main" id="{8AD06C31-E814-4380-7B97-8D4A0E1AC741}"/>
              </a:ext>
            </a:extLst>
          </p:cNvPr>
          <p:cNvGrpSpPr/>
          <p:nvPr/>
        </p:nvGrpSpPr>
        <p:grpSpPr>
          <a:xfrm>
            <a:off x="9263397" y="4004890"/>
            <a:ext cx="1992981" cy="350865"/>
            <a:chOff x="9263397" y="3896033"/>
            <a:chExt cx="1992981" cy="350865"/>
          </a:xfrm>
        </p:grpSpPr>
        <p:sp>
          <p:nvSpPr>
            <p:cNvPr id="21" name="Oval 20">
              <a:extLst>
                <a:ext uri="{FF2B5EF4-FFF2-40B4-BE49-F238E27FC236}">
                  <a16:creationId xmlns:a16="http://schemas.microsoft.com/office/drawing/2014/main" id="{EE1B3065-BA4C-2BF8-85A7-FA69E0F7AF66}"/>
                </a:ext>
              </a:extLst>
            </p:cNvPr>
            <p:cNvSpPr/>
            <p:nvPr/>
          </p:nvSpPr>
          <p:spPr>
            <a:xfrm>
              <a:off x="9263397" y="3923034"/>
              <a:ext cx="296863" cy="296863"/>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1200" dirty="0">
                <a:solidFill>
                  <a:schemeClr val="tx1"/>
                </a:solidFill>
              </a:endParaRPr>
            </a:p>
          </p:txBody>
        </p:sp>
        <p:sp>
          <p:nvSpPr>
            <p:cNvPr id="22" name="TextBox 21">
              <a:extLst>
                <a:ext uri="{FF2B5EF4-FFF2-40B4-BE49-F238E27FC236}">
                  <a16:creationId xmlns:a16="http://schemas.microsoft.com/office/drawing/2014/main" id="{84A4767D-3D31-E233-139D-FFAC45350641}"/>
                </a:ext>
              </a:extLst>
            </p:cNvPr>
            <p:cNvSpPr txBox="1"/>
            <p:nvPr/>
          </p:nvSpPr>
          <p:spPr>
            <a:xfrm>
              <a:off x="9607918" y="3896033"/>
              <a:ext cx="1648460" cy="350865"/>
            </a:xfrm>
            <a:prstGeom prst="rect">
              <a:avLst/>
            </a:prstGeom>
            <a:noFill/>
          </p:spPr>
          <p:txBody>
            <a:bodyPr wrap="square" lIns="0" tIns="36576" rIns="0" bIns="0" rtlCol="0" anchor="ctr">
              <a:spAutoFit/>
            </a:bodyPr>
            <a:lstStyle/>
            <a:p>
              <a:pPr>
                <a:lnSpc>
                  <a:spcPct val="85000"/>
                </a:lnSpc>
                <a:buClr>
                  <a:schemeClr val="accent2"/>
                </a:buClr>
                <a:buSzPct val="70000"/>
              </a:pPr>
              <a:r>
                <a:rPr lang="en-IN" sz="1200" dirty="0">
                  <a:solidFill>
                    <a:schemeClr val="bg1"/>
                  </a:solidFill>
                </a:rPr>
                <a:t>Significant cost</a:t>
              </a:r>
            </a:p>
            <a:p>
              <a:pPr>
                <a:lnSpc>
                  <a:spcPct val="85000"/>
                </a:lnSpc>
                <a:buClr>
                  <a:schemeClr val="accent2"/>
                </a:buClr>
                <a:buSzPct val="70000"/>
              </a:pPr>
              <a:r>
                <a:rPr lang="en-IN" sz="1200" dirty="0">
                  <a:solidFill>
                    <a:schemeClr val="bg1"/>
                  </a:solidFill>
                </a:rPr>
                <a:t>efficiency potential</a:t>
              </a:r>
            </a:p>
          </p:txBody>
        </p:sp>
      </p:grpSp>
      <p:grpSp>
        <p:nvGrpSpPr>
          <p:cNvPr id="25" name="Group 24">
            <a:extLst>
              <a:ext uri="{FF2B5EF4-FFF2-40B4-BE49-F238E27FC236}">
                <a16:creationId xmlns:a16="http://schemas.microsoft.com/office/drawing/2014/main" id="{39BFDE83-E9EC-4DE4-59E5-CA3DE1C03B5B}"/>
              </a:ext>
            </a:extLst>
          </p:cNvPr>
          <p:cNvGrpSpPr/>
          <p:nvPr/>
        </p:nvGrpSpPr>
        <p:grpSpPr>
          <a:xfrm>
            <a:off x="6877306" y="4004890"/>
            <a:ext cx="1766667" cy="350865"/>
            <a:chOff x="6877306" y="3896033"/>
            <a:chExt cx="1766667" cy="350865"/>
          </a:xfrm>
        </p:grpSpPr>
        <p:sp>
          <p:nvSpPr>
            <p:cNvPr id="20" name="TextBox 19">
              <a:extLst>
                <a:ext uri="{FF2B5EF4-FFF2-40B4-BE49-F238E27FC236}">
                  <a16:creationId xmlns:a16="http://schemas.microsoft.com/office/drawing/2014/main" id="{3356DB21-C6C2-02CE-3949-DAA779D4FD29}"/>
                </a:ext>
              </a:extLst>
            </p:cNvPr>
            <p:cNvSpPr txBox="1"/>
            <p:nvPr/>
          </p:nvSpPr>
          <p:spPr>
            <a:xfrm>
              <a:off x="7224359" y="3896033"/>
              <a:ext cx="1419614" cy="350865"/>
            </a:xfrm>
            <a:prstGeom prst="rect">
              <a:avLst/>
            </a:prstGeom>
            <a:noFill/>
          </p:spPr>
          <p:txBody>
            <a:bodyPr wrap="square" lIns="0" tIns="36576" rIns="0" bIns="0" rtlCol="0" anchor="ctr">
              <a:spAutoFit/>
            </a:bodyPr>
            <a:lstStyle/>
            <a:p>
              <a:pPr>
                <a:lnSpc>
                  <a:spcPct val="85000"/>
                </a:lnSpc>
                <a:buClr>
                  <a:schemeClr val="accent2"/>
                </a:buClr>
                <a:buSzPct val="70000"/>
              </a:pPr>
              <a:r>
                <a:rPr lang="en-IN" sz="1200" dirty="0">
                  <a:solidFill>
                    <a:schemeClr val="bg1"/>
                  </a:solidFill>
                </a:rPr>
                <a:t>Significant cost</a:t>
              </a:r>
            </a:p>
            <a:p>
              <a:pPr>
                <a:lnSpc>
                  <a:spcPct val="85000"/>
                </a:lnSpc>
                <a:buClr>
                  <a:schemeClr val="accent2"/>
                </a:buClr>
                <a:buSzPct val="70000"/>
              </a:pPr>
              <a:r>
                <a:rPr lang="en-IN" sz="1200" dirty="0">
                  <a:solidFill>
                    <a:schemeClr val="bg1"/>
                  </a:solidFill>
                </a:rPr>
                <a:t>efficiency potential </a:t>
              </a:r>
            </a:p>
          </p:txBody>
        </p:sp>
        <p:sp>
          <p:nvSpPr>
            <p:cNvPr id="23" name="Oval 22">
              <a:extLst>
                <a:ext uri="{FF2B5EF4-FFF2-40B4-BE49-F238E27FC236}">
                  <a16:creationId xmlns:a16="http://schemas.microsoft.com/office/drawing/2014/main" id="{4D706B93-7446-F992-8D72-8B7E77B568BA}"/>
                </a:ext>
              </a:extLst>
            </p:cNvPr>
            <p:cNvSpPr/>
            <p:nvPr/>
          </p:nvSpPr>
          <p:spPr>
            <a:xfrm>
              <a:off x="6877306" y="3923034"/>
              <a:ext cx="296863" cy="296863"/>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1200" dirty="0">
                <a:solidFill>
                  <a:schemeClr val="tx1"/>
                </a:solidFill>
              </a:endParaRPr>
            </a:p>
          </p:txBody>
        </p:sp>
      </p:grpSp>
      <p:grpSp>
        <p:nvGrpSpPr>
          <p:cNvPr id="6" name="Group 5">
            <a:extLst>
              <a:ext uri="{FF2B5EF4-FFF2-40B4-BE49-F238E27FC236}">
                <a16:creationId xmlns:a16="http://schemas.microsoft.com/office/drawing/2014/main" id="{F75F7FE5-E769-19E5-2824-79F434075B34}"/>
              </a:ext>
            </a:extLst>
          </p:cNvPr>
          <p:cNvGrpSpPr/>
          <p:nvPr/>
        </p:nvGrpSpPr>
        <p:grpSpPr>
          <a:xfrm>
            <a:off x="608203" y="1195254"/>
            <a:ext cx="10981944" cy="457200"/>
            <a:chOff x="608203" y="1195254"/>
            <a:chExt cx="10981944" cy="502920"/>
          </a:xfrm>
        </p:grpSpPr>
        <p:cxnSp>
          <p:nvCxnSpPr>
            <p:cNvPr id="8" name="Straight Connector 7">
              <a:extLst>
                <a:ext uri="{FF2B5EF4-FFF2-40B4-BE49-F238E27FC236}">
                  <a16:creationId xmlns:a16="http://schemas.microsoft.com/office/drawing/2014/main" id="{724C2C6F-8FFB-1C53-2689-AE2EEC031F10}"/>
                </a:ext>
              </a:extLst>
            </p:cNvPr>
            <p:cNvCxnSpPr>
              <a:cxnSpLocks/>
            </p:cNvCxnSpPr>
            <p:nvPr/>
          </p:nvCxnSpPr>
          <p:spPr>
            <a:xfrm>
              <a:off x="608203" y="1446714"/>
              <a:ext cx="10981944" cy="0"/>
            </a:xfrm>
            <a:prstGeom prst="line">
              <a:avLst/>
            </a:prstGeom>
            <a:ln w="9525">
              <a:solidFill>
                <a:srgbClr val="C4C4CD"/>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A6423BC-8832-0AC6-BC7C-25EAA0E18184}"/>
                </a:ext>
              </a:extLst>
            </p:cNvPr>
            <p:cNvSpPr txBox="1"/>
            <p:nvPr/>
          </p:nvSpPr>
          <p:spPr>
            <a:xfrm>
              <a:off x="1465040" y="1195254"/>
              <a:ext cx="9268274" cy="50292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IN" sz="1600" b="1" dirty="0">
                  <a:solidFill>
                    <a:schemeClr val="tx1">
                      <a:lumMod val="100000"/>
                    </a:schemeClr>
                  </a:solidFill>
                </a:rPr>
                <a:t>Law department transformation path</a:t>
              </a:r>
            </a:p>
          </p:txBody>
        </p:sp>
      </p:grpSp>
      <p:sp>
        <p:nvSpPr>
          <p:cNvPr id="10" name="TextBox 9">
            <a:extLst>
              <a:ext uri="{FF2B5EF4-FFF2-40B4-BE49-F238E27FC236}">
                <a16:creationId xmlns:a16="http://schemas.microsoft.com/office/drawing/2014/main" id="{6FD661F7-1794-CA5A-60BE-8CF175B44B1E}"/>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2021 EY Law Survey.</a:t>
            </a:r>
          </a:p>
        </p:txBody>
      </p:sp>
    </p:spTree>
    <p:extLst>
      <p:ext uri="{BB962C8B-B14F-4D97-AF65-F5344CB8AC3E}">
        <p14:creationId xmlns:p14="http://schemas.microsoft.com/office/powerpoint/2010/main" val="19542931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2A495A7-08D4-EF74-676F-DCEB2677A26D}"/>
              </a:ext>
            </a:extLst>
          </p:cNvPr>
          <p:cNvSpPr/>
          <p:nvPr/>
        </p:nvSpPr>
        <p:spPr>
          <a:xfrm>
            <a:off x="968829" y="5061399"/>
            <a:ext cx="496211" cy="3065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182739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p:txBody>
          <a:bodyPr anchor="t" anchorCtr="0"/>
          <a:lstStyle/>
          <a:p>
            <a:r>
              <a:rPr lang="en-IN" dirty="0"/>
              <a:t>Defining who is responsible for leading change is key</a:t>
            </a:r>
            <a:endParaRPr lang="en-US" dirty="0"/>
          </a:p>
        </p:txBody>
      </p:sp>
      <p:sp>
        <p:nvSpPr>
          <p:cNvPr id="24" name="Subtitle" descr="Subtitle">
            <a:extLst>
              <a:ext uri="{FF2B5EF4-FFF2-40B4-BE49-F238E27FC236}">
                <a16:creationId xmlns:a16="http://schemas.microsoft.com/office/drawing/2014/main" id="{515BB6B3-F121-0ECA-A412-49E0CB2CA6A3}"/>
              </a:ext>
            </a:extLst>
          </p:cNvPr>
          <p:cNvSpPr txBox="1">
            <a:spLocks/>
          </p:cNvSpPr>
          <p:nvPr/>
        </p:nvSpPr>
        <p:spPr>
          <a:xfrm>
            <a:off x="476848" y="2247427"/>
            <a:ext cx="11235509" cy="440638"/>
          </a:xfrm>
          <a:prstGeom prst="parallelogram">
            <a:avLst/>
          </a:prstGeom>
          <a:solidFill>
            <a:schemeClr val="tx2"/>
          </a:solidFill>
          <a:ln>
            <a:noFill/>
          </a:ln>
        </p:spPr>
        <p:txBody>
          <a:bodyPr wrap="none" lIns="0" tIns="0" rIns="0" bIns="0" rtlCol="0" anchor="ctr">
            <a:spAutoFit/>
          </a:bodyPr>
          <a:lstStyle>
            <a:defPPr>
              <a:defRPr lang="en-US"/>
            </a:defPPr>
            <a:lvl1pPr algn="ctr">
              <a:lnSpc>
                <a:spcPct val="85000"/>
              </a:lnSpc>
              <a:buClr>
                <a:schemeClr val="accent2"/>
              </a:buClr>
              <a:buSzPct val="70000"/>
              <a:defRPr sz="1600" b="1">
                <a:solidFill>
                  <a:schemeClr val="bg1"/>
                </a:solidFill>
              </a:defRPr>
            </a:lvl1pPr>
          </a:lstStyle>
          <a:p>
            <a:r>
              <a:rPr lang="en-US" sz="1400" dirty="0">
                <a:solidFill>
                  <a:schemeClr val="tx1"/>
                </a:solidFill>
              </a:rPr>
              <a:t>What function plays the leading role in the contracting process within your organization?</a:t>
            </a:r>
          </a:p>
          <a:p>
            <a:r>
              <a:rPr lang="en-US" sz="1400" b="0" dirty="0">
                <a:solidFill>
                  <a:schemeClr val="tx1"/>
                </a:solidFill>
              </a:rPr>
              <a:t>Percentage of responses from legal department, procurement, contracting and business development professionals </a:t>
            </a:r>
            <a:endParaRPr lang="en-GB" sz="1400" b="0" dirty="0">
              <a:solidFill>
                <a:schemeClr val="tx1"/>
              </a:solidFill>
            </a:endParaRPr>
          </a:p>
        </p:txBody>
      </p:sp>
      <p:graphicFrame>
        <p:nvGraphicFramePr>
          <p:cNvPr id="32" name="Chart 31">
            <a:extLst>
              <a:ext uri="{FF2B5EF4-FFF2-40B4-BE49-F238E27FC236}">
                <a16:creationId xmlns:a16="http://schemas.microsoft.com/office/drawing/2014/main" id="{550B315F-6A5E-9AA9-2585-84DA98E37BD3}"/>
              </a:ext>
            </a:extLst>
          </p:cNvPr>
          <p:cNvGraphicFramePr/>
          <p:nvPr>
            <p:custDataLst>
              <p:tags r:id="rId2"/>
            </p:custDataLst>
            <p:extLst>
              <p:ext uri="{D42A27DB-BD31-4B8C-83A1-F6EECF244321}">
                <p14:modId xmlns:p14="http://schemas.microsoft.com/office/powerpoint/2010/main" val="3350533776"/>
              </p:ext>
            </p:extLst>
          </p:nvPr>
        </p:nvGraphicFramePr>
        <p:xfrm>
          <a:off x="608202" y="3051175"/>
          <a:ext cx="2740025" cy="274002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Table 9">
            <a:extLst>
              <a:ext uri="{FF2B5EF4-FFF2-40B4-BE49-F238E27FC236}">
                <a16:creationId xmlns:a16="http://schemas.microsoft.com/office/drawing/2014/main" id="{4DF24A33-4C1B-170F-6CF4-C1451DAB699F}"/>
              </a:ext>
            </a:extLst>
          </p:cNvPr>
          <p:cNvGraphicFramePr>
            <a:graphicFrameLocks noGrp="1"/>
          </p:cNvGraphicFramePr>
          <p:nvPr>
            <p:extLst>
              <p:ext uri="{D42A27DB-BD31-4B8C-83A1-F6EECF244321}">
                <p14:modId xmlns:p14="http://schemas.microsoft.com/office/powerpoint/2010/main" val="1957805063"/>
              </p:ext>
            </p:extLst>
          </p:nvPr>
        </p:nvGraphicFramePr>
        <p:xfrm>
          <a:off x="5486400" y="3006202"/>
          <a:ext cx="6103746" cy="3105672"/>
        </p:xfrm>
        <a:graphic>
          <a:graphicData uri="http://schemas.openxmlformats.org/drawingml/2006/table">
            <a:tbl>
              <a:tblPr firstRow="1" bandRow="1">
                <a:tableStyleId>{5C22544A-7EE6-4342-B048-85BDC9FD1C3A}</a:tableStyleId>
              </a:tblPr>
              <a:tblGrid>
                <a:gridCol w="1134002">
                  <a:extLst>
                    <a:ext uri="{9D8B030D-6E8A-4147-A177-3AD203B41FA5}">
                      <a16:colId xmlns:a16="http://schemas.microsoft.com/office/drawing/2014/main" val="1669519390"/>
                    </a:ext>
                  </a:extLst>
                </a:gridCol>
                <a:gridCol w="4969744">
                  <a:extLst>
                    <a:ext uri="{9D8B030D-6E8A-4147-A177-3AD203B41FA5}">
                      <a16:colId xmlns:a16="http://schemas.microsoft.com/office/drawing/2014/main" val="581320151"/>
                    </a:ext>
                  </a:extLst>
                </a:gridCol>
              </a:tblGrid>
              <a:tr h="1035224">
                <a:tc>
                  <a:txBody>
                    <a:bodyPr/>
                    <a:lstStyle/>
                    <a:p>
                      <a:pPr algn="ctr"/>
                      <a:r>
                        <a:rPr lang="en-US" sz="3600" b="0" dirty="0">
                          <a:solidFill>
                            <a:srgbClr val="FFFFFF"/>
                          </a:solidFill>
                          <a:latin typeface="EYInterstate Light" panose="02000506000000020004" pitchFamily="2" charset="0"/>
                        </a:rPr>
                        <a:t>6%</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b="0" u="none" dirty="0">
                          <a:solidFill>
                            <a:schemeClr val="bg1"/>
                          </a:solidFill>
                          <a:latin typeface="EYInterstate Light" panose="02000506000000020004" pitchFamily="2" charset="0"/>
                        </a:rPr>
                        <a:t>Contracting is a </a:t>
                      </a:r>
                      <a:r>
                        <a:rPr lang="en-US" sz="1800" b="1" u="none" dirty="0">
                          <a:solidFill>
                            <a:schemeClr val="bg1"/>
                          </a:solidFill>
                          <a:latin typeface="EYInterstate Light" panose="02000506000000020004" pitchFamily="2" charset="0"/>
                        </a:rPr>
                        <a:t>shared responsibility </a:t>
                      </a:r>
                      <a:r>
                        <a:rPr lang="en-US" sz="1800" b="0" u="none" dirty="0">
                          <a:solidFill>
                            <a:schemeClr val="bg1"/>
                          </a:solidFill>
                          <a:latin typeface="EYInterstate Light" panose="02000506000000020004" pitchFamily="2" charset="0"/>
                        </a:rPr>
                        <a:t>between multiple departments across the organiza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0683293"/>
                  </a:ext>
                </a:extLst>
              </a:tr>
              <a:tr h="1035224">
                <a:tc>
                  <a:txBody>
                    <a:bodyPr/>
                    <a:lstStyle/>
                    <a:p>
                      <a:pPr algn="ctr"/>
                      <a:r>
                        <a:rPr lang="en-US" sz="3600" dirty="0">
                          <a:solidFill>
                            <a:srgbClr val="FFFFFF"/>
                          </a:solidFill>
                          <a:latin typeface="EYInterstate Light" panose="02000506000000020004" pitchFamily="2" charset="0"/>
                        </a:rPr>
                        <a:t>48%</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b="1" u="none" dirty="0">
                          <a:solidFill>
                            <a:schemeClr val="bg1"/>
                          </a:solidFill>
                          <a:latin typeface="EYInterstate Light" panose="02000506000000020004" pitchFamily="2" charset="0"/>
                        </a:rPr>
                        <a:t>My department</a:t>
                      </a:r>
                      <a:r>
                        <a:rPr lang="en-US" sz="1800" u="none" dirty="0">
                          <a:solidFill>
                            <a:schemeClr val="bg1"/>
                          </a:solidFill>
                          <a:latin typeface="EYInterstate Light" panose="02000506000000020004" pitchFamily="2" charset="0"/>
                        </a:rPr>
                        <a:t> plays the leading role in the contracting proces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7101651"/>
                  </a:ext>
                </a:extLst>
              </a:tr>
              <a:tr h="1035224">
                <a:tc>
                  <a:txBody>
                    <a:bodyPr/>
                    <a:lstStyle/>
                    <a:p>
                      <a:pPr algn="ctr"/>
                      <a:r>
                        <a:rPr lang="en-US" sz="3600" dirty="0">
                          <a:solidFill>
                            <a:srgbClr val="FFFFFF"/>
                          </a:solidFill>
                          <a:latin typeface="EYInterstate Light" panose="02000506000000020004" pitchFamily="2" charset="0"/>
                        </a:rPr>
                        <a:t>46%</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EYInterstate Light" panose="02000506000000020004" pitchFamily="2" charset="0"/>
                        </a:rPr>
                        <a:t>Another department </a:t>
                      </a:r>
                      <a:r>
                        <a:rPr lang="en-US" sz="1800" dirty="0">
                          <a:solidFill>
                            <a:schemeClr val="bg1"/>
                          </a:solidFill>
                          <a:latin typeface="EYInterstate Light" panose="02000506000000020004" pitchFamily="2" charset="0"/>
                        </a:rPr>
                        <a:t>plays the leading role in the contracting proces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0378584"/>
                  </a:ext>
                </a:extLst>
              </a:tr>
            </a:tbl>
          </a:graphicData>
        </a:graphic>
      </p:graphicFrame>
      <p:cxnSp>
        <p:nvCxnSpPr>
          <p:cNvPr id="28" name="Connector: Elbow 27">
            <a:extLst>
              <a:ext uri="{FF2B5EF4-FFF2-40B4-BE49-F238E27FC236}">
                <a16:creationId xmlns:a16="http://schemas.microsoft.com/office/drawing/2014/main" id="{35650CD7-900E-D60A-D20A-80790C84AF64}"/>
              </a:ext>
            </a:extLst>
          </p:cNvPr>
          <p:cNvCxnSpPr>
            <a:cxnSpLocks/>
            <a:stCxn id="17" idx="2"/>
          </p:cNvCxnSpPr>
          <p:nvPr/>
        </p:nvCxnSpPr>
        <p:spPr>
          <a:xfrm rot="16200000" flipH="1">
            <a:off x="3041870" y="3543061"/>
            <a:ext cx="404540" cy="4054411"/>
          </a:xfrm>
          <a:prstGeom prst="bentConnector2">
            <a:avLst/>
          </a:prstGeom>
          <a:ln w="15875">
            <a:solidFill>
              <a:srgbClr val="74748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628825C8-3D69-69FE-60BE-D9A1FF1161F9}"/>
              </a:ext>
            </a:extLst>
          </p:cNvPr>
          <p:cNvCxnSpPr>
            <a:cxnSpLocks/>
          </p:cNvCxnSpPr>
          <p:nvPr/>
        </p:nvCxnSpPr>
        <p:spPr>
          <a:xfrm>
            <a:off x="2177143" y="3236156"/>
            <a:ext cx="3094203" cy="0"/>
          </a:xfrm>
          <a:prstGeom prst="straightConnector1">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77D96728-8A80-ABDC-39A1-5E27BA318623}"/>
              </a:ext>
            </a:extLst>
          </p:cNvPr>
          <p:cNvGrpSpPr/>
          <p:nvPr/>
        </p:nvGrpSpPr>
        <p:grpSpPr>
          <a:xfrm>
            <a:off x="608203" y="1195254"/>
            <a:ext cx="10981944" cy="851260"/>
            <a:chOff x="608203" y="1195254"/>
            <a:chExt cx="10981944" cy="502920"/>
          </a:xfrm>
        </p:grpSpPr>
        <p:cxnSp>
          <p:nvCxnSpPr>
            <p:cNvPr id="8" name="Straight Connector 7">
              <a:extLst>
                <a:ext uri="{FF2B5EF4-FFF2-40B4-BE49-F238E27FC236}">
                  <a16:creationId xmlns:a16="http://schemas.microsoft.com/office/drawing/2014/main" id="{DEB34927-CA67-E030-DA53-DD7E044AAA2A}"/>
                </a:ext>
              </a:extLst>
            </p:cNvPr>
            <p:cNvCxnSpPr>
              <a:cxnSpLocks/>
            </p:cNvCxnSpPr>
            <p:nvPr/>
          </p:nvCxnSpPr>
          <p:spPr>
            <a:xfrm>
              <a:off x="608203" y="1446714"/>
              <a:ext cx="10981944" cy="0"/>
            </a:xfrm>
            <a:prstGeom prst="line">
              <a:avLst/>
            </a:prstGeom>
            <a:ln w="9525">
              <a:solidFill>
                <a:srgbClr val="C4C4CD"/>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826D509-C533-0A50-3E8B-2B9F32276A78}"/>
                </a:ext>
              </a:extLst>
            </p:cNvPr>
            <p:cNvSpPr txBox="1"/>
            <p:nvPr/>
          </p:nvSpPr>
          <p:spPr>
            <a:xfrm>
              <a:off x="1465040" y="1195254"/>
              <a:ext cx="9268274" cy="50292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IN" sz="1600" b="1" dirty="0">
                  <a:solidFill>
                    <a:schemeClr val="tx1">
                      <a:lumMod val="100000"/>
                    </a:schemeClr>
                  </a:solidFill>
                </a:rPr>
                <a:t>Efforts at transformation are complicated by the fact that contracting is a fragmented function within most organizations, with business development, procurement, legal and other departments often all playing a role</a:t>
              </a:r>
            </a:p>
          </p:txBody>
        </p:sp>
      </p:grpSp>
      <p:cxnSp>
        <p:nvCxnSpPr>
          <p:cNvPr id="13" name="Straight Arrow Connector 12">
            <a:extLst>
              <a:ext uri="{FF2B5EF4-FFF2-40B4-BE49-F238E27FC236}">
                <a16:creationId xmlns:a16="http://schemas.microsoft.com/office/drawing/2014/main" id="{519347FD-B529-8B71-6DA9-689027A69B62}"/>
              </a:ext>
            </a:extLst>
          </p:cNvPr>
          <p:cNvCxnSpPr>
            <a:cxnSpLocks/>
          </p:cNvCxnSpPr>
          <p:nvPr/>
        </p:nvCxnSpPr>
        <p:spPr>
          <a:xfrm>
            <a:off x="3156857" y="4433585"/>
            <a:ext cx="2114489" cy="0"/>
          </a:xfrm>
          <a:prstGeom prst="straightConnector1">
            <a:avLst/>
          </a:prstGeom>
          <a:ln w="15875">
            <a:solidFill>
              <a:srgbClr val="C4C4CD"/>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39C15C8-7056-E269-912A-AE23D242C7BF}"/>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2021 EY Law Survey.</a:t>
            </a:r>
          </a:p>
        </p:txBody>
      </p:sp>
    </p:spTree>
    <p:extLst>
      <p:ext uri="{BB962C8B-B14F-4D97-AF65-F5344CB8AC3E}">
        <p14:creationId xmlns:p14="http://schemas.microsoft.com/office/powerpoint/2010/main" val="27605360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294694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28" imgH="328" progId="TCLayout.ActiveDocument.1">
                  <p:embed/>
                </p:oleObj>
              </mc:Choice>
              <mc:Fallback>
                <p:oleObj name="think-cell Slide" r:id="rId13"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p:txBody>
          <a:bodyPr anchor="t" anchorCtr="0"/>
          <a:lstStyle/>
          <a:p>
            <a:r>
              <a:rPr lang="en-IN" dirty="0"/>
              <a:t>Defining who is responsible for leading change is key</a:t>
            </a:r>
            <a:endParaRPr lang="en-US" dirty="0"/>
          </a:p>
        </p:txBody>
      </p:sp>
      <p:graphicFrame>
        <p:nvGraphicFramePr>
          <p:cNvPr id="41" name="Chart 40">
            <a:extLst>
              <a:ext uri="{FF2B5EF4-FFF2-40B4-BE49-F238E27FC236}">
                <a16:creationId xmlns:a16="http://schemas.microsoft.com/office/drawing/2014/main" id="{358E8EF0-7C50-AE76-4213-B42663B988EB}"/>
              </a:ext>
            </a:extLst>
          </p:cNvPr>
          <p:cNvGraphicFramePr/>
          <p:nvPr>
            <p:custDataLst>
              <p:tags r:id="rId2"/>
            </p:custDataLst>
            <p:extLst>
              <p:ext uri="{D42A27DB-BD31-4B8C-83A1-F6EECF244321}">
                <p14:modId xmlns:p14="http://schemas.microsoft.com/office/powerpoint/2010/main" val="353267560"/>
              </p:ext>
            </p:extLst>
          </p:nvPr>
        </p:nvGraphicFramePr>
        <p:xfrm>
          <a:off x="2383028" y="3051175"/>
          <a:ext cx="4140320" cy="2685596"/>
        </p:xfrm>
        <a:graphic>
          <a:graphicData uri="http://schemas.openxmlformats.org/drawingml/2006/chart">
            <c:chart xmlns:c="http://schemas.openxmlformats.org/drawingml/2006/chart" xmlns:r="http://schemas.openxmlformats.org/officeDocument/2006/relationships" r:id="rId15"/>
          </a:graphicData>
        </a:graphic>
      </p:graphicFrame>
      <p:sp>
        <p:nvSpPr>
          <p:cNvPr id="8" name="Text Placeholder 2">
            <a:extLst>
              <a:ext uri="{FF2B5EF4-FFF2-40B4-BE49-F238E27FC236}">
                <a16:creationId xmlns:a16="http://schemas.microsoft.com/office/drawing/2014/main" id="{F2AD7EAB-F596-891B-C089-5BC462B17CD1}"/>
              </a:ext>
            </a:extLst>
          </p:cNvPr>
          <p:cNvSpPr>
            <a:spLocks noGrp="1"/>
          </p:cNvSpPr>
          <p:nvPr>
            <p:custDataLst>
              <p:tags r:id="rId3"/>
            </p:custDataLst>
          </p:nvPr>
        </p:nvSpPr>
        <p:spPr bwMode="auto">
          <a:xfrm>
            <a:off x="608203" y="4592191"/>
            <a:ext cx="1774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ct val="0"/>
              </a:spcBef>
              <a:spcAft>
                <a:spcPct val="0"/>
              </a:spcAft>
              <a:buClr>
                <a:srgbClr val="FFE600"/>
              </a:buClr>
              <a:buSzPct val="70000"/>
              <a:buFont typeface="Arial" pitchFamily="34" charset="0"/>
              <a:buNone/>
              <a:tabLst/>
              <a:defRPr/>
            </a:pPr>
            <a:r>
              <a:rPr kumimoji="0" lang="en-US" sz="1400" b="0" i="0" u="none" strike="noStrike" kern="1200" cap="none" spc="0" normalizeH="0" baseline="0" noProof="0" dirty="0">
                <a:ln>
                  <a:noFill/>
                </a:ln>
                <a:solidFill>
                  <a:prstClr val="white"/>
                </a:solidFill>
                <a:effectLst/>
                <a:uLnTx/>
                <a:uFillTx/>
                <a:sym typeface="+mn-lt"/>
              </a:rPr>
              <a:t>Business development</a:t>
            </a:r>
          </a:p>
        </p:txBody>
      </p:sp>
      <p:sp>
        <p:nvSpPr>
          <p:cNvPr id="5" name="Text Placeholder 2">
            <a:extLst>
              <a:ext uri="{FF2B5EF4-FFF2-40B4-BE49-F238E27FC236}">
                <a16:creationId xmlns:a16="http://schemas.microsoft.com/office/drawing/2014/main" id="{41F8104A-C8CC-580D-0BAE-F242FF2CE74E}"/>
              </a:ext>
            </a:extLst>
          </p:cNvPr>
          <p:cNvSpPr>
            <a:spLocks noGrp="1"/>
          </p:cNvSpPr>
          <p:nvPr>
            <p:custDataLst>
              <p:tags r:id="rId4"/>
            </p:custDataLst>
          </p:nvPr>
        </p:nvSpPr>
        <p:spPr bwMode="auto">
          <a:xfrm>
            <a:off x="608203" y="3371533"/>
            <a:ext cx="14239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ct val="0"/>
              </a:spcBef>
              <a:spcAft>
                <a:spcPct val="0"/>
              </a:spcAft>
              <a:buClr>
                <a:srgbClr val="FFE600"/>
              </a:buClr>
              <a:buSzPct val="70000"/>
              <a:buFont typeface="Arial" pitchFamily="34" charset="0"/>
              <a:buNone/>
              <a:tabLst/>
              <a:defRPr/>
            </a:pPr>
            <a:r>
              <a:rPr kumimoji="0" lang="en-US" sz="1400" b="0" i="0" u="none" strike="noStrike" kern="1200" cap="none" spc="0" normalizeH="0" baseline="0" noProof="0" dirty="0">
                <a:ln>
                  <a:noFill/>
                </a:ln>
                <a:solidFill>
                  <a:prstClr val="white"/>
                </a:solidFill>
                <a:effectLst/>
                <a:uLnTx/>
                <a:uFillTx/>
                <a:sym typeface="+mn-lt"/>
              </a:rPr>
              <a:t>Legal department</a:t>
            </a:r>
          </a:p>
        </p:txBody>
      </p:sp>
      <p:sp>
        <p:nvSpPr>
          <p:cNvPr id="9" name="Text Placeholder 2">
            <a:extLst>
              <a:ext uri="{FF2B5EF4-FFF2-40B4-BE49-F238E27FC236}">
                <a16:creationId xmlns:a16="http://schemas.microsoft.com/office/drawing/2014/main" id="{8C357AAD-5260-8778-B9F8-DDAA69DBFE24}"/>
              </a:ext>
            </a:extLst>
          </p:cNvPr>
          <p:cNvSpPr>
            <a:spLocks noGrp="1"/>
          </p:cNvSpPr>
          <p:nvPr>
            <p:custDataLst>
              <p:tags r:id="rId5"/>
            </p:custDataLst>
          </p:nvPr>
        </p:nvSpPr>
        <p:spPr bwMode="auto">
          <a:xfrm>
            <a:off x="608203" y="3981862"/>
            <a:ext cx="9382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ct val="0"/>
              </a:spcBef>
              <a:spcAft>
                <a:spcPct val="0"/>
              </a:spcAft>
              <a:buClr>
                <a:srgbClr val="FFE600"/>
              </a:buClr>
              <a:buSzPct val="70000"/>
              <a:buFont typeface="Arial" pitchFamily="34" charset="0"/>
              <a:buNone/>
              <a:tabLst/>
              <a:defRPr/>
            </a:pPr>
            <a:r>
              <a:rPr kumimoji="0" lang="en-US" sz="1400" b="0" i="0" u="none" strike="noStrike" kern="1200" cap="none" spc="0" normalizeH="0" baseline="0" noProof="0" dirty="0">
                <a:ln>
                  <a:noFill/>
                </a:ln>
                <a:solidFill>
                  <a:prstClr val="white"/>
                </a:solidFill>
                <a:effectLst/>
                <a:uLnTx/>
                <a:uFillTx/>
                <a:sym typeface="+mn-lt"/>
              </a:rPr>
              <a:t>Contracting</a:t>
            </a:r>
          </a:p>
        </p:txBody>
      </p:sp>
      <p:sp>
        <p:nvSpPr>
          <p:cNvPr id="6" name="Text Placeholder 2">
            <a:extLst>
              <a:ext uri="{FF2B5EF4-FFF2-40B4-BE49-F238E27FC236}">
                <a16:creationId xmlns:a16="http://schemas.microsoft.com/office/drawing/2014/main" id="{F2204423-EC80-AB36-0A7D-FE8D70EE73C0}"/>
              </a:ext>
            </a:extLst>
          </p:cNvPr>
          <p:cNvSpPr>
            <a:spLocks noGrp="1"/>
          </p:cNvSpPr>
          <p:nvPr>
            <p:custDataLst>
              <p:tags r:id="rId6"/>
            </p:custDataLst>
          </p:nvPr>
        </p:nvSpPr>
        <p:spPr bwMode="auto">
          <a:xfrm>
            <a:off x="608203" y="5202521"/>
            <a:ext cx="10414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ct val="0"/>
              </a:spcBef>
              <a:spcAft>
                <a:spcPct val="0"/>
              </a:spcAft>
              <a:buClr>
                <a:srgbClr val="FFE600"/>
              </a:buClr>
              <a:buSzPct val="70000"/>
              <a:buFont typeface="Arial" pitchFamily="34" charset="0"/>
              <a:buNone/>
              <a:tabLst/>
              <a:defRPr/>
            </a:pPr>
            <a:r>
              <a:rPr kumimoji="0" lang="en-US" sz="1400" b="0" i="0" u="none" strike="noStrike" kern="1200" cap="none" spc="0" normalizeH="0" baseline="0" noProof="0" dirty="0">
                <a:ln>
                  <a:noFill/>
                </a:ln>
                <a:solidFill>
                  <a:prstClr val="white"/>
                </a:solidFill>
                <a:effectLst/>
                <a:uLnTx/>
                <a:uFillTx/>
                <a:sym typeface="+mn-lt"/>
              </a:rPr>
              <a:t>Procurement</a:t>
            </a:r>
          </a:p>
        </p:txBody>
      </p:sp>
      <p:graphicFrame>
        <p:nvGraphicFramePr>
          <p:cNvPr id="36" name="Chart 35">
            <a:extLst>
              <a:ext uri="{FF2B5EF4-FFF2-40B4-BE49-F238E27FC236}">
                <a16:creationId xmlns:a16="http://schemas.microsoft.com/office/drawing/2014/main" id="{510800A6-E355-9711-C622-42326F4F8F21}"/>
              </a:ext>
            </a:extLst>
          </p:cNvPr>
          <p:cNvGraphicFramePr/>
          <p:nvPr>
            <p:custDataLst>
              <p:tags r:id="rId7"/>
            </p:custDataLst>
            <p:extLst>
              <p:ext uri="{D42A27DB-BD31-4B8C-83A1-F6EECF244321}">
                <p14:modId xmlns:p14="http://schemas.microsoft.com/office/powerpoint/2010/main" val="3302546433"/>
              </p:ext>
            </p:extLst>
          </p:nvPr>
        </p:nvGraphicFramePr>
        <p:xfrm>
          <a:off x="6693316" y="3048065"/>
          <a:ext cx="3058585" cy="2685596"/>
        </p:xfrm>
        <a:graphic>
          <a:graphicData uri="http://schemas.openxmlformats.org/drawingml/2006/chart">
            <c:chart xmlns:c="http://schemas.openxmlformats.org/drawingml/2006/chart" xmlns:r="http://schemas.openxmlformats.org/officeDocument/2006/relationships" r:id="rId16"/>
          </a:graphicData>
        </a:graphic>
      </p:graphicFrame>
      <p:sp>
        <p:nvSpPr>
          <p:cNvPr id="15" name="Text Placeholder 2">
            <a:extLst>
              <a:ext uri="{FF2B5EF4-FFF2-40B4-BE49-F238E27FC236}">
                <a16:creationId xmlns:a16="http://schemas.microsoft.com/office/drawing/2014/main" id="{958A7A6F-0E4F-CDC0-2A7A-469E466D4AAA}"/>
              </a:ext>
            </a:extLst>
          </p:cNvPr>
          <p:cNvSpPr>
            <a:spLocks noGrp="1"/>
          </p:cNvSpPr>
          <p:nvPr>
            <p:custDataLst>
              <p:tags r:id="rId8"/>
            </p:custDataLst>
          </p:nvPr>
        </p:nvSpPr>
        <p:spPr bwMode="gray">
          <a:xfrm>
            <a:off x="9222288" y="5196138"/>
            <a:ext cx="21082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spcBef>
                <a:spcPct val="0"/>
              </a:spcBef>
              <a:spcAft>
                <a:spcPct val="0"/>
              </a:spcAft>
              <a:buClr>
                <a:srgbClr val="FFE600"/>
              </a:buClr>
              <a:buNone/>
              <a:defRPr/>
            </a:pPr>
            <a:fld id="{64176BB1-5E13-40E7-901B-9372AD05951D}" type="datetime'''''''''3''''''''''''''''''''''''8''''''''%'''''''''''">
              <a:rPr lang="en-US" altLang="en-US" sz="1400" smtClean="0">
                <a:solidFill>
                  <a:srgbClr val="FFFFFF"/>
                </a:solidFill>
                <a:latin typeface="+mn-lt"/>
              </a:rPr>
              <a:pPr marL="0" lvl="0" indent="0">
                <a:spcBef>
                  <a:spcPct val="0"/>
                </a:spcBef>
                <a:spcAft>
                  <a:spcPct val="0"/>
                </a:spcAft>
                <a:buClr>
                  <a:srgbClr val="FFE600"/>
                </a:buClr>
                <a:buNone/>
                <a:defRPr/>
              </a:pPr>
              <a:t>38%</a:t>
            </a:fld>
            <a:r>
              <a:rPr kumimoji="0" lang="en-US" altLang="en-US" sz="1400" b="0" i="0" u="none" strike="noStrike" kern="1200" cap="none" spc="0" normalizeH="0" baseline="0" noProof="0" dirty="0">
                <a:ln>
                  <a:noFill/>
                </a:ln>
                <a:solidFill>
                  <a:prstClr val="white"/>
                </a:solidFill>
                <a:effectLst/>
                <a:uLnTx/>
                <a:uFillTx/>
                <a:latin typeface="+mn-lt"/>
                <a:sym typeface="+mn-lt"/>
              </a:rPr>
              <a:t> say legal department</a:t>
            </a:r>
            <a:endParaRPr kumimoji="0" lang="en-US" sz="1400" b="0" i="0" u="none" strike="noStrike" kern="1200" cap="none" spc="0" normalizeH="0" baseline="0" noProof="0" dirty="0">
              <a:ln>
                <a:noFill/>
              </a:ln>
              <a:solidFill>
                <a:prstClr val="white"/>
              </a:solidFill>
              <a:effectLst/>
              <a:uLnTx/>
              <a:uFillTx/>
              <a:latin typeface="+mn-lt"/>
              <a:sym typeface="+mn-lt"/>
            </a:endParaRPr>
          </a:p>
        </p:txBody>
      </p:sp>
      <p:sp>
        <p:nvSpPr>
          <p:cNvPr id="13" name="Text Placeholder 2">
            <a:extLst>
              <a:ext uri="{FF2B5EF4-FFF2-40B4-BE49-F238E27FC236}">
                <a16:creationId xmlns:a16="http://schemas.microsoft.com/office/drawing/2014/main" id="{586074BD-10C3-0072-E232-00E5EE99C83A}"/>
              </a:ext>
            </a:extLst>
          </p:cNvPr>
          <p:cNvSpPr>
            <a:spLocks noGrp="1"/>
          </p:cNvSpPr>
          <p:nvPr>
            <p:custDataLst>
              <p:tags r:id="rId9"/>
            </p:custDataLst>
          </p:nvPr>
        </p:nvSpPr>
        <p:spPr bwMode="gray">
          <a:xfrm>
            <a:off x="8692675" y="3981862"/>
            <a:ext cx="21082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spcBef>
                <a:spcPct val="0"/>
              </a:spcBef>
              <a:spcAft>
                <a:spcPct val="0"/>
              </a:spcAft>
              <a:buClr>
                <a:srgbClr val="FFE600"/>
              </a:buClr>
              <a:buNone/>
              <a:defRPr/>
            </a:pPr>
            <a:fld id="{FA963DA1-BEC5-47F2-B894-0C8024A4414F}" type="datetime'''''''''''''''''''2''''''''''''''''''''''8''''''''''''''''%'''">
              <a:rPr lang="en-US" altLang="en-US" sz="1400" smtClean="0">
                <a:solidFill>
                  <a:srgbClr val="FFFFFF"/>
                </a:solidFill>
                <a:latin typeface="+mn-lt"/>
              </a:rPr>
              <a:pPr marL="0" lvl="0" indent="0">
                <a:spcBef>
                  <a:spcPct val="0"/>
                </a:spcBef>
                <a:spcAft>
                  <a:spcPct val="0"/>
                </a:spcAft>
                <a:buClr>
                  <a:srgbClr val="FFE600"/>
                </a:buClr>
                <a:buNone/>
                <a:defRPr/>
              </a:pPr>
              <a:t>28%</a:t>
            </a:fld>
            <a:r>
              <a:rPr kumimoji="0" lang="en-US" altLang="en-US" sz="1400" b="0" i="0" u="none" strike="noStrike" kern="1200" cap="none" spc="0" normalizeH="0" baseline="0" noProof="0" dirty="0">
                <a:ln>
                  <a:noFill/>
                </a:ln>
                <a:solidFill>
                  <a:prstClr val="white"/>
                </a:solidFill>
                <a:effectLst/>
                <a:uLnTx/>
                <a:uFillTx/>
                <a:latin typeface="+mn-lt"/>
                <a:sym typeface="+mn-lt"/>
              </a:rPr>
              <a:t> say legal department</a:t>
            </a:r>
            <a:endParaRPr kumimoji="0" lang="en-US" sz="1400" b="0" i="0" u="none" strike="noStrike" kern="1200" cap="none" spc="0" normalizeH="0" baseline="0" noProof="0" dirty="0">
              <a:ln>
                <a:noFill/>
              </a:ln>
              <a:solidFill>
                <a:prstClr val="white"/>
              </a:solidFill>
              <a:effectLst/>
              <a:uLnTx/>
              <a:uFillTx/>
              <a:latin typeface="+mn-lt"/>
              <a:sym typeface="+mn-lt"/>
            </a:endParaRPr>
          </a:p>
        </p:txBody>
      </p:sp>
      <p:sp>
        <p:nvSpPr>
          <p:cNvPr id="12" name="Text Placeholder 2">
            <a:extLst>
              <a:ext uri="{FF2B5EF4-FFF2-40B4-BE49-F238E27FC236}">
                <a16:creationId xmlns:a16="http://schemas.microsoft.com/office/drawing/2014/main" id="{A9E55E08-739A-C7FB-B4CE-C3C6FADB64B3}"/>
              </a:ext>
            </a:extLst>
          </p:cNvPr>
          <p:cNvSpPr>
            <a:spLocks noGrp="1"/>
          </p:cNvSpPr>
          <p:nvPr>
            <p:custDataLst>
              <p:tags r:id="rId10"/>
            </p:custDataLst>
          </p:nvPr>
        </p:nvSpPr>
        <p:spPr bwMode="gray">
          <a:xfrm>
            <a:off x="9083071" y="3371533"/>
            <a:ext cx="16525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spcBef>
                <a:spcPct val="0"/>
              </a:spcBef>
              <a:spcAft>
                <a:spcPct val="0"/>
              </a:spcAft>
              <a:buClr>
                <a:srgbClr val="FFE600"/>
              </a:buClr>
              <a:buNone/>
              <a:defRPr/>
            </a:pPr>
            <a:fld id="{C1866952-2AD6-44D0-854B-6BF47BA3B47F}" type="datetime'3''''''''''''''''''''''''''''''''''''''''''''''''''''3''%'''">
              <a:rPr lang="en-US" altLang="en-US" sz="1400" smtClean="0">
                <a:solidFill>
                  <a:srgbClr val="FFFFFF"/>
                </a:solidFill>
                <a:latin typeface="+mn-lt"/>
              </a:rPr>
              <a:pPr marL="0" lvl="0" indent="0">
                <a:spcBef>
                  <a:spcPct val="0"/>
                </a:spcBef>
                <a:spcAft>
                  <a:spcPct val="0"/>
                </a:spcAft>
                <a:buClr>
                  <a:srgbClr val="FFE600"/>
                </a:buClr>
                <a:buNone/>
                <a:defRPr/>
              </a:pPr>
              <a:t>33%</a:t>
            </a:fld>
            <a:r>
              <a:rPr kumimoji="0" lang="en-US" altLang="en-US" sz="1400" b="0" i="0" u="none" strike="noStrike" kern="1200" cap="none" spc="0" normalizeH="0" baseline="0" noProof="0" dirty="0">
                <a:ln>
                  <a:noFill/>
                </a:ln>
                <a:solidFill>
                  <a:prstClr val="white"/>
                </a:solidFill>
                <a:effectLst/>
                <a:uLnTx/>
                <a:uFillTx/>
                <a:latin typeface="+mn-lt"/>
                <a:sym typeface="+mn-lt"/>
              </a:rPr>
              <a:t> say contracting</a:t>
            </a:r>
            <a:endParaRPr kumimoji="0" lang="en-US" sz="1400" b="0" i="0" u="none" strike="noStrike" kern="1200" cap="none" spc="0" normalizeH="0" baseline="0" noProof="0" dirty="0">
              <a:ln>
                <a:noFill/>
              </a:ln>
              <a:solidFill>
                <a:prstClr val="white"/>
              </a:solidFill>
              <a:effectLst/>
              <a:uLnTx/>
              <a:uFillTx/>
              <a:latin typeface="+mn-lt"/>
              <a:sym typeface="+mn-lt"/>
            </a:endParaRPr>
          </a:p>
        </p:txBody>
      </p:sp>
      <p:sp>
        <p:nvSpPr>
          <p:cNvPr id="14" name="Text Placeholder 2">
            <a:extLst>
              <a:ext uri="{FF2B5EF4-FFF2-40B4-BE49-F238E27FC236}">
                <a16:creationId xmlns:a16="http://schemas.microsoft.com/office/drawing/2014/main" id="{0A1C0FC0-11AD-8D23-5ECC-DA77CA24CBFD}"/>
              </a:ext>
            </a:extLst>
          </p:cNvPr>
          <p:cNvSpPr>
            <a:spLocks noGrp="1"/>
          </p:cNvSpPr>
          <p:nvPr>
            <p:custDataLst>
              <p:tags r:id="rId11"/>
            </p:custDataLst>
          </p:nvPr>
        </p:nvSpPr>
        <p:spPr bwMode="gray">
          <a:xfrm>
            <a:off x="8855265" y="4592191"/>
            <a:ext cx="21082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spcBef>
                <a:spcPct val="0"/>
              </a:spcBef>
              <a:spcAft>
                <a:spcPct val="0"/>
              </a:spcAft>
              <a:buClr>
                <a:srgbClr val="FFE600"/>
              </a:buClr>
              <a:buNone/>
              <a:defRPr/>
            </a:pPr>
            <a:fld id="{1AED41A4-FA64-466A-A11E-39DA0968B778}" type="datetime'''3''''''''''''''''''''''''''''''''''''''''2%'''''''''''''''''">
              <a:rPr lang="en-US" altLang="en-US" sz="1400" smtClean="0">
                <a:solidFill>
                  <a:srgbClr val="FFFFFF"/>
                </a:solidFill>
                <a:latin typeface="+mn-lt"/>
              </a:rPr>
              <a:pPr marL="0" lvl="0" indent="0">
                <a:spcBef>
                  <a:spcPct val="0"/>
                </a:spcBef>
                <a:spcAft>
                  <a:spcPct val="0"/>
                </a:spcAft>
                <a:buClr>
                  <a:srgbClr val="FFE600"/>
                </a:buClr>
                <a:buNone/>
                <a:defRPr/>
              </a:pPr>
              <a:t>32%</a:t>
            </a:fld>
            <a:r>
              <a:rPr kumimoji="0" lang="en-US" altLang="en-US" sz="1400" b="0" i="0" u="none" strike="noStrike" kern="1200" cap="none" spc="0" normalizeH="0" baseline="0" noProof="0" dirty="0">
                <a:ln>
                  <a:noFill/>
                </a:ln>
                <a:solidFill>
                  <a:prstClr val="white"/>
                </a:solidFill>
                <a:effectLst/>
                <a:uLnTx/>
                <a:uFillTx/>
                <a:latin typeface="+mn-lt"/>
                <a:sym typeface="+mn-lt"/>
              </a:rPr>
              <a:t> say legal department</a:t>
            </a:r>
            <a:endParaRPr kumimoji="0" lang="en-US" sz="1400" b="0" i="0" u="none" strike="noStrike" kern="1200" cap="none" spc="0" normalizeH="0" baseline="0" noProof="0" dirty="0">
              <a:ln>
                <a:noFill/>
              </a:ln>
              <a:solidFill>
                <a:prstClr val="white"/>
              </a:solidFill>
              <a:effectLst/>
              <a:uLnTx/>
              <a:uFillTx/>
              <a:latin typeface="+mn-lt"/>
              <a:sym typeface="+mn-lt"/>
            </a:endParaRPr>
          </a:p>
        </p:txBody>
      </p:sp>
      <p:sp>
        <p:nvSpPr>
          <p:cNvPr id="16" name="TextBox 15">
            <a:extLst>
              <a:ext uri="{FF2B5EF4-FFF2-40B4-BE49-F238E27FC236}">
                <a16:creationId xmlns:a16="http://schemas.microsoft.com/office/drawing/2014/main" id="{2AA2BF64-E983-6493-92C1-59A8D5C418EA}"/>
              </a:ext>
            </a:extLst>
          </p:cNvPr>
          <p:cNvSpPr txBox="1"/>
          <p:nvPr/>
        </p:nvSpPr>
        <p:spPr>
          <a:xfrm>
            <a:off x="2564091" y="2237762"/>
            <a:ext cx="3181351" cy="664797"/>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rPr>
              <a:t>Percentage of </a:t>
            </a:r>
            <a:r>
              <a:rPr lang="en-US" sz="1600" dirty="0">
                <a:solidFill>
                  <a:prstClr val="white"/>
                </a:solidFill>
                <a:latin typeface="EYInterstate Light" panose="02000506000000020004" pitchFamily="2" charset="0"/>
              </a:rPr>
              <a:t>teams </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rPr>
              <a:t>that believe their department plays the central role in contracting… </a:t>
            </a:r>
          </a:p>
        </p:txBody>
      </p:sp>
      <p:sp>
        <p:nvSpPr>
          <p:cNvPr id="17" name="TextBox 16">
            <a:extLst>
              <a:ext uri="{FF2B5EF4-FFF2-40B4-BE49-F238E27FC236}">
                <a16:creationId xmlns:a16="http://schemas.microsoft.com/office/drawing/2014/main" id="{625EEF04-C4D6-994B-D213-914ADC704CBD}"/>
              </a:ext>
            </a:extLst>
          </p:cNvPr>
          <p:cNvSpPr txBox="1"/>
          <p:nvPr/>
        </p:nvSpPr>
        <p:spPr>
          <a:xfrm>
            <a:off x="6693316" y="2280553"/>
            <a:ext cx="3415884" cy="45550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rPr>
              <a:t>…and the department they believe plays a secondary role in contracting.</a:t>
            </a:r>
          </a:p>
        </p:txBody>
      </p:sp>
      <p:sp>
        <p:nvSpPr>
          <p:cNvPr id="20" name="Rectangle 19">
            <a:extLst>
              <a:ext uri="{FF2B5EF4-FFF2-40B4-BE49-F238E27FC236}">
                <a16:creationId xmlns:a16="http://schemas.microsoft.com/office/drawing/2014/main" id="{5C219472-D1C5-BBA7-09D1-A16D60AE1997}"/>
              </a:ext>
            </a:extLst>
          </p:cNvPr>
          <p:cNvSpPr/>
          <p:nvPr/>
        </p:nvSpPr>
        <p:spPr>
          <a:xfrm>
            <a:off x="646113" y="1374775"/>
            <a:ext cx="10999788" cy="461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endParaRPr>
          </a:p>
        </p:txBody>
      </p:sp>
      <p:grpSp>
        <p:nvGrpSpPr>
          <p:cNvPr id="11" name="Group 10">
            <a:extLst>
              <a:ext uri="{FF2B5EF4-FFF2-40B4-BE49-F238E27FC236}">
                <a16:creationId xmlns:a16="http://schemas.microsoft.com/office/drawing/2014/main" id="{873F0B40-E739-B0A1-78E8-4D34619BFFDA}"/>
              </a:ext>
            </a:extLst>
          </p:cNvPr>
          <p:cNvGrpSpPr/>
          <p:nvPr/>
        </p:nvGrpSpPr>
        <p:grpSpPr>
          <a:xfrm>
            <a:off x="608203" y="1195254"/>
            <a:ext cx="10981944" cy="851260"/>
            <a:chOff x="608203" y="1195254"/>
            <a:chExt cx="10981944" cy="502920"/>
          </a:xfrm>
        </p:grpSpPr>
        <p:cxnSp>
          <p:nvCxnSpPr>
            <p:cNvPr id="21" name="Straight Connector 20">
              <a:extLst>
                <a:ext uri="{FF2B5EF4-FFF2-40B4-BE49-F238E27FC236}">
                  <a16:creationId xmlns:a16="http://schemas.microsoft.com/office/drawing/2014/main" id="{CC75712E-0B8D-E6FF-4238-8BCEA6FB343D}"/>
                </a:ext>
              </a:extLst>
            </p:cNvPr>
            <p:cNvCxnSpPr>
              <a:cxnSpLocks/>
            </p:cNvCxnSpPr>
            <p:nvPr/>
          </p:nvCxnSpPr>
          <p:spPr>
            <a:xfrm>
              <a:off x="608203" y="1446714"/>
              <a:ext cx="10981944" cy="0"/>
            </a:xfrm>
            <a:prstGeom prst="line">
              <a:avLst/>
            </a:prstGeom>
            <a:ln w="9525">
              <a:solidFill>
                <a:srgbClr val="C4C4CD"/>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37C6D9-4236-7476-81F8-30B6C37FB104}"/>
                </a:ext>
              </a:extLst>
            </p:cNvPr>
            <p:cNvSpPr txBox="1"/>
            <p:nvPr/>
          </p:nvSpPr>
          <p:spPr>
            <a:xfrm>
              <a:off x="1465040" y="1195254"/>
              <a:ext cx="9268274" cy="50292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IN" sz="1600" b="1" dirty="0">
                  <a:solidFill>
                    <a:schemeClr val="tx1">
                      <a:lumMod val="100000"/>
                    </a:schemeClr>
                  </a:solidFill>
                </a:rPr>
                <a:t>Most functions believe that their own function plays the lead role in the organization’s contracting, but this lack of alignment and clarity around ownership can hinder the transformation and employees’ willingness to engage in future change initiatives</a:t>
              </a:r>
            </a:p>
          </p:txBody>
        </p:sp>
      </p:grpSp>
      <p:sp>
        <p:nvSpPr>
          <p:cNvPr id="23" name="TextBox 22">
            <a:extLst>
              <a:ext uri="{FF2B5EF4-FFF2-40B4-BE49-F238E27FC236}">
                <a16:creationId xmlns:a16="http://schemas.microsoft.com/office/drawing/2014/main" id="{B0151799-1F70-2AE1-5E70-97BC657FFE38}"/>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2021 EY Law Survey.</a:t>
            </a:r>
          </a:p>
        </p:txBody>
      </p:sp>
      <p:cxnSp>
        <p:nvCxnSpPr>
          <p:cNvPr id="25" name="Straight Connector 24">
            <a:extLst>
              <a:ext uri="{FF2B5EF4-FFF2-40B4-BE49-F238E27FC236}">
                <a16:creationId xmlns:a16="http://schemas.microsoft.com/office/drawing/2014/main" id="{73FFBFEE-4F2B-A80F-89A1-DA68EFF3C3BD}"/>
              </a:ext>
            </a:extLst>
          </p:cNvPr>
          <p:cNvCxnSpPr>
            <a:cxnSpLocks/>
          </p:cNvCxnSpPr>
          <p:nvPr/>
        </p:nvCxnSpPr>
        <p:spPr>
          <a:xfrm>
            <a:off x="2564091" y="3029402"/>
            <a:ext cx="651898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3820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2B9D40D-E81D-B2E1-B9D3-1275FF3C8005}"/>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2021 EY Law Survey.</a:t>
            </a:r>
          </a:p>
        </p:txBody>
      </p:sp>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923750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p:txBody>
          <a:bodyPr anchor="t" anchorCtr="0"/>
          <a:lstStyle/>
          <a:p>
            <a:r>
              <a:rPr lang="en-IN" dirty="0"/>
              <a:t>Sometimes the best path toward transformation is via a new sourcing strategy</a:t>
            </a:r>
            <a:endParaRPr lang="en-US" dirty="0"/>
          </a:p>
        </p:txBody>
      </p:sp>
      <p:graphicFrame>
        <p:nvGraphicFramePr>
          <p:cNvPr id="24" name="Table 10">
            <a:extLst>
              <a:ext uri="{FF2B5EF4-FFF2-40B4-BE49-F238E27FC236}">
                <a16:creationId xmlns:a16="http://schemas.microsoft.com/office/drawing/2014/main" id="{3F03AB7D-DA0B-A5AF-A6C1-C3CD8D3EC993}"/>
              </a:ext>
            </a:extLst>
          </p:cNvPr>
          <p:cNvGraphicFramePr>
            <a:graphicFrameLocks noGrp="1"/>
          </p:cNvGraphicFramePr>
          <p:nvPr>
            <p:extLst>
              <p:ext uri="{D42A27DB-BD31-4B8C-83A1-F6EECF244321}">
                <p14:modId xmlns:p14="http://schemas.microsoft.com/office/powerpoint/2010/main" val="3512976615"/>
              </p:ext>
            </p:extLst>
          </p:nvPr>
        </p:nvGraphicFramePr>
        <p:xfrm>
          <a:off x="5296636" y="2144701"/>
          <a:ext cx="6293511" cy="3751045"/>
        </p:xfrm>
        <a:graphic>
          <a:graphicData uri="http://schemas.openxmlformats.org/drawingml/2006/table">
            <a:tbl>
              <a:tblPr firstRow="1" bandRow="1">
                <a:tableStyleId>{5C22544A-7EE6-4342-B048-85BDC9FD1C3A}</a:tableStyleId>
              </a:tblPr>
              <a:tblGrid>
                <a:gridCol w="1774179">
                  <a:extLst>
                    <a:ext uri="{9D8B030D-6E8A-4147-A177-3AD203B41FA5}">
                      <a16:colId xmlns:a16="http://schemas.microsoft.com/office/drawing/2014/main" val="2530461354"/>
                    </a:ext>
                  </a:extLst>
                </a:gridCol>
                <a:gridCol w="1960080">
                  <a:extLst>
                    <a:ext uri="{9D8B030D-6E8A-4147-A177-3AD203B41FA5}">
                      <a16:colId xmlns:a16="http://schemas.microsoft.com/office/drawing/2014/main" val="2899591356"/>
                    </a:ext>
                  </a:extLst>
                </a:gridCol>
                <a:gridCol w="2559252">
                  <a:extLst>
                    <a:ext uri="{9D8B030D-6E8A-4147-A177-3AD203B41FA5}">
                      <a16:colId xmlns:a16="http://schemas.microsoft.com/office/drawing/2014/main" val="3442311089"/>
                    </a:ext>
                  </a:extLst>
                </a:gridCol>
              </a:tblGrid>
              <a:tr h="268462">
                <a:tc>
                  <a:txBody>
                    <a:bodyPr/>
                    <a:lstStyle/>
                    <a:p>
                      <a:pPr algn="l">
                        <a:lnSpc>
                          <a:spcPct val="100000"/>
                        </a:lnSpc>
                        <a:spcBef>
                          <a:spcPts val="0"/>
                        </a:spcBef>
                        <a:spcAft>
                          <a:spcPts val="0"/>
                        </a:spcAft>
                      </a:pPr>
                      <a:r>
                        <a:rPr lang="en-IN" sz="1400" dirty="0">
                          <a:solidFill>
                            <a:schemeClr val="tx1"/>
                          </a:solidFill>
                        </a:rPr>
                        <a:t>Sourcing strategy</a:t>
                      </a:r>
                    </a:p>
                  </a:txBody>
                  <a:tcPr marL="45720" marR="45720" anchor="ctr">
                    <a:lnL w="9525" cap="flat" cmpd="sng" algn="ctr">
                      <a:solidFill>
                        <a:srgbClr val="C4C4CD"/>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l">
                        <a:lnSpc>
                          <a:spcPct val="100000"/>
                        </a:lnSpc>
                        <a:spcBef>
                          <a:spcPts val="0"/>
                        </a:spcBef>
                        <a:spcAft>
                          <a:spcPts val="0"/>
                        </a:spcAft>
                      </a:pPr>
                      <a:r>
                        <a:rPr lang="en-IN" sz="1400" dirty="0">
                          <a:solidFill>
                            <a:schemeClr val="tx1"/>
                          </a:solidFill>
                        </a:rPr>
                        <a:t>Opportunity </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l">
                        <a:lnSpc>
                          <a:spcPct val="100000"/>
                        </a:lnSpc>
                        <a:spcBef>
                          <a:spcPts val="0"/>
                        </a:spcBef>
                        <a:spcAft>
                          <a:spcPts val="0"/>
                        </a:spcAft>
                      </a:pPr>
                      <a:r>
                        <a:rPr lang="en-IN" sz="1400" dirty="0">
                          <a:solidFill>
                            <a:schemeClr val="tx1"/>
                          </a:solidFill>
                        </a:rPr>
                        <a:t>Challenge</a:t>
                      </a:r>
                    </a:p>
                  </a:txBody>
                  <a:tcPr marL="45720" marR="45720" anchor="ctr">
                    <a:lnL w="9525" cap="flat" cmpd="sng" algn="ctr">
                      <a:solidFill>
                        <a:schemeClr val="bg1"/>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851622191"/>
                  </a:ext>
                </a:extLst>
              </a:tr>
              <a:tr h="885925">
                <a:tc>
                  <a:txBody>
                    <a:bodyPr/>
                    <a:lstStyle/>
                    <a:p>
                      <a:pPr marL="0" lvl="1" indent="0" algn="l">
                        <a:lnSpc>
                          <a:spcPct val="100000"/>
                        </a:lnSpc>
                        <a:spcBef>
                          <a:spcPts val="0"/>
                        </a:spcBef>
                        <a:spcAft>
                          <a:spcPts val="0"/>
                        </a:spcAft>
                      </a:pPr>
                      <a:r>
                        <a:rPr lang="en-IN" sz="1200" b="0" dirty="0">
                          <a:solidFill>
                            <a:srgbClr val="2E2E38"/>
                          </a:solidFill>
                        </a:rPr>
                        <a:t>In-house counsel</a:t>
                      </a:r>
                    </a:p>
                  </a:txBody>
                  <a:tcPr marL="18288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Lower cost than law firms</a:t>
                      </a:r>
                    </a:p>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In-house teams understand businesses</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Investment in optimization and technology</a:t>
                      </a:r>
                    </a:p>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Headcount or volume of work can be difficult to manage</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195234"/>
                  </a:ext>
                </a:extLst>
              </a:tr>
              <a:tr h="563771">
                <a:tc>
                  <a:txBody>
                    <a:bodyPr/>
                    <a:lstStyle/>
                    <a:p>
                      <a:pPr marL="0" lvl="1" indent="0" algn="l">
                        <a:lnSpc>
                          <a:spcPct val="100000"/>
                        </a:lnSpc>
                        <a:spcBef>
                          <a:spcPts val="0"/>
                        </a:spcBef>
                        <a:spcAft>
                          <a:spcPts val="0"/>
                        </a:spcAft>
                      </a:pPr>
                      <a:r>
                        <a:rPr lang="en-IN" sz="1200" b="0" dirty="0">
                          <a:solidFill>
                            <a:schemeClr val="bg1"/>
                          </a:solidFill>
                        </a:rPr>
                        <a:t>Self-service</a:t>
                      </a:r>
                    </a:p>
                  </a:txBody>
                  <a:tcPr marL="18288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marL="182880" marR="0" lvl="0" indent="-182880" algn="l" defTabSz="913486"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Automate delivery</a:t>
                      </a:r>
                    </a:p>
                    <a:p>
                      <a:pPr marL="182880" marR="0" lvl="0" indent="-182880" algn="l" defTabSz="913486"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On-demand for business</a:t>
                      </a:r>
                    </a:p>
                    <a:p>
                      <a:pPr marL="182880" marR="0" lvl="0" indent="-182880" algn="l" defTabSz="913486"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Reduces workload</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Technology investment</a:t>
                      </a:r>
                    </a:p>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Requires updating</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1690802"/>
                  </a:ext>
                </a:extLst>
              </a:tr>
              <a:tr h="563771">
                <a:tc>
                  <a:txBody>
                    <a:bodyPr/>
                    <a:lstStyle/>
                    <a:p>
                      <a:pPr marL="0" lvl="1" indent="0" algn="l">
                        <a:lnSpc>
                          <a:spcPct val="100000"/>
                        </a:lnSpc>
                        <a:spcBef>
                          <a:spcPts val="0"/>
                        </a:spcBef>
                        <a:spcAft>
                          <a:spcPts val="0"/>
                        </a:spcAft>
                      </a:pPr>
                      <a:r>
                        <a:rPr lang="en-US" sz="1200" b="0" noProof="0" dirty="0">
                          <a:solidFill>
                            <a:srgbClr val="2E2E38"/>
                          </a:solidFill>
                        </a:rPr>
                        <a:t>Center</a:t>
                      </a:r>
                      <a:r>
                        <a:rPr lang="en-IN" sz="1200" b="0" dirty="0">
                          <a:solidFill>
                            <a:srgbClr val="2E2E38"/>
                          </a:solidFill>
                        </a:rPr>
                        <a:t> of excellence</a:t>
                      </a:r>
                    </a:p>
                  </a:txBody>
                  <a:tcPr marL="18288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82880" marR="0" lvl="0" indent="-182880" algn="l" defTabSz="913486"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Lower cost</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Investment in optimization and technology</a:t>
                      </a:r>
                    </a:p>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Change management</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838259"/>
                  </a:ext>
                </a:extLst>
              </a:tr>
              <a:tr h="563771">
                <a:tc>
                  <a:txBody>
                    <a:bodyPr/>
                    <a:lstStyle/>
                    <a:p>
                      <a:pPr marL="0" lvl="1" indent="0" algn="l" defTabSz="913943" rtl="0" eaLnBrk="1" latinLnBrk="0" hangingPunct="1">
                        <a:lnSpc>
                          <a:spcPct val="100000"/>
                        </a:lnSpc>
                        <a:spcBef>
                          <a:spcPts val="0"/>
                        </a:spcBef>
                        <a:spcAft>
                          <a:spcPts val="0"/>
                        </a:spcAft>
                      </a:pPr>
                      <a:r>
                        <a:rPr lang="en-IN" sz="1200" b="0" kern="1200" dirty="0">
                          <a:solidFill>
                            <a:srgbClr val="2E2E38"/>
                          </a:solidFill>
                          <a:latin typeface="+mn-lt"/>
                          <a:ea typeface="+mn-ea"/>
                          <a:cs typeface="+mn-cs"/>
                        </a:rPr>
                        <a:t>External lawyers</a:t>
                      </a:r>
                    </a:p>
                  </a:txBody>
                  <a:tcPr marL="18288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Legal expertise</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Higher cost</a:t>
                      </a:r>
                    </a:p>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Often lack process and technology expertise</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8677990"/>
                  </a:ext>
                </a:extLst>
              </a:tr>
              <a:tr h="563771">
                <a:tc>
                  <a:txBody>
                    <a:bodyPr/>
                    <a:lstStyle/>
                    <a:p>
                      <a:pPr marL="0" lvl="1" indent="0" algn="l">
                        <a:lnSpc>
                          <a:spcPct val="100000"/>
                        </a:lnSpc>
                        <a:spcBef>
                          <a:spcPts val="0"/>
                        </a:spcBef>
                        <a:spcAft>
                          <a:spcPts val="0"/>
                        </a:spcAft>
                      </a:pPr>
                      <a:r>
                        <a:rPr lang="en-IN" sz="1200" b="0" dirty="0">
                          <a:solidFill>
                            <a:schemeClr val="bg1"/>
                          </a:solidFill>
                        </a:rPr>
                        <a:t>Alternative providers</a:t>
                      </a:r>
                    </a:p>
                  </a:txBody>
                  <a:tcPr marL="18288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Process and technology expertise</a:t>
                      </a:r>
                    </a:p>
                    <a:p>
                      <a:pPr marL="182880" marR="0" lvl="0" indent="-182880" algn="l" defTabSz="913486" rtl="0" eaLnBrk="1" fontAlgn="auto" latinLnBrk="0" hangingPunct="1">
                        <a:lnSpc>
                          <a:spcPct val="100000"/>
                        </a:lnSpc>
                        <a:spcBef>
                          <a:spcPts val="0"/>
                        </a:spcBef>
                        <a:spcAft>
                          <a:spcPts val="0"/>
                        </a:spcAft>
                        <a:buClr>
                          <a:schemeClr val="tx2"/>
                        </a:buClr>
                        <a:buSzPct val="100000"/>
                        <a:buFont typeface="EYInterstate" panose="02000503020000020004" pitchFamily="2" charset="0"/>
                        <a:buChar char="•"/>
                        <a:tabLst/>
                        <a:defRPr/>
                      </a:pPr>
                      <a:r>
                        <a:rPr lang="en-IN" sz="1200" kern="1200" dirty="0">
                          <a:solidFill>
                            <a:schemeClr val="bg1"/>
                          </a:solidFill>
                          <a:latin typeface="+mn-lt"/>
                          <a:ea typeface="+mn-ea"/>
                          <a:cs typeface="+mn-cs"/>
                        </a:rPr>
                        <a:t>Lower cost</a:t>
                      </a: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r>
                        <a:rPr lang="en-IN" sz="1200" kern="1200" dirty="0">
                          <a:solidFill>
                            <a:schemeClr val="bg1"/>
                          </a:solidFill>
                          <a:latin typeface="+mn-lt"/>
                          <a:ea typeface="+mn-ea"/>
                          <a:cs typeface="+mn-cs"/>
                        </a:rPr>
                        <a:t>Change management</a:t>
                      </a:r>
                    </a:p>
                    <a:p>
                      <a:pPr marL="182880" indent="-182880" algn="l" defTabSz="913486" rtl="0" eaLnBrk="1" latinLnBrk="0" hangingPunct="1">
                        <a:lnSpc>
                          <a:spcPct val="100000"/>
                        </a:lnSpc>
                        <a:spcBef>
                          <a:spcPts val="0"/>
                        </a:spcBef>
                        <a:spcAft>
                          <a:spcPts val="0"/>
                        </a:spcAft>
                        <a:buClr>
                          <a:schemeClr val="tx2"/>
                        </a:buClr>
                        <a:buSzPct val="100000"/>
                        <a:buFont typeface="EYInterstate" panose="02000503020000020004" pitchFamily="2" charset="0"/>
                        <a:buChar char="•"/>
                      </a:pPr>
                      <a:endParaRPr lang="en-IN" sz="1200" kern="1200" dirty="0">
                        <a:solidFill>
                          <a:schemeClr val="bg1"/>
                        </a:solidFill>
                        <a:latin typeface="+mn-lt"/>
                        <a:ea typeface="+mn-ea"/>
                        <a:cs typeface="+mn-cs"/>
                      </a:endParaRPr>
                    </a:p>
                  </a:txBody>
                  <a:tcPr marL="45720" marR="4572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2562099"/>
                  </a:ext>
                </a:extLst>
              </a:tr>
            </a:tbl>
          </a:graphicData>
        </a:graphic>
      </p:graphicFrame>
      <p:sp>
        <p:nvSpPr>
          <p:cNvPr id="25" name="Subtitle" descr="Subtitle">
            <a:extLst>
              <a:ext uri="{FF2B5EF4-FFF2-40B4-BE49-F238E27FC236}">
                <a16:creationId xmlns:a16="http://schemas.microsoft.com/office/drawing/2014/main" id="{2FB8144A-B1A2-E070-32CC-5CEAFBCBF697}"/>
              </a:ext>
            </a:extLst>
          </p:cNvPr>
          <p:cNvSpPr txBox="1">
            <a:spLocks/>
          </p:cNvSpPr>
          <p:nvPr/>
        </p:nvSpPr>
        <p:spPr>
          <a:xfrm>
            <a:off x="870332" y="5714770"/>
            <a:ext cx="4023754" cy="215444"/>
          </a:xfrm>
          <a:prstGeom prst="rect">
            <a:avLst/>
          </a:prstGeom>
          <a:noFill/>
        </p:spPr>
        <p:txBody>
          <a:bodyPr vert="horz" wrap="square" lIns="0" tIns="0" rIns="0" bIns="0" rtlCol="0">
            <a:spAutoFit/>
          </a:bodyPr>
          <a:lstStyle/>
          <a:p>
            <a:pPr lvl="0" algn="ctr" defTabSz="456971">
              <a:defRPr/>
            </a:pPr>
            <a:r>
              <a:rPr lang="en-US" sz="1400" b="1" dirty="0">
                <a:solidFill>
                  <a:schemeClr val="bg1"/>
                </a:solidFill>
              </a:rPr>
              <a:t>Potential legal sourcing strategies</a:t>
            </a:r>
          </a:p>
        </p:txBody>
      </p:sp>
      <p:grpSp>
        <p:nvGrpSpPr>
          <p:cNvPr id="11" name="Group 10">
            <a:extLst>
              <a:ext uri="{FF2B5EF4-FFF2-40B4-BE49-F238E27FC236}">
                <a16:creationId xmlns:a16="http://schemas.microsoft.com/office/drawing/2014/main" id="{A20D7EEE-3A89-9086-E827-CC47FE91AADE}"/>
              </a:ext>
            </a:extLst>
          </p:cNvPr>
          <p:cNvGrpSpPr/>
          <p:nvPr/>
        </p:nvGrpSpPr>
        <p:grpSpPr>
          <a:xfrm>
            <a:off x="703800" y="2198915"/>
            <a:ext cx="4356820" cy="3358920"/>
            <a:chOff x="460475" y="1981200"/>
            <a:chExt cx="4785419" cy="3689351"/>
          </a:xfrm>
        </p:grpSpPr>
        <p:sp>
          <p:nvSpPr>
            <p:cNvPr id="27" name="TextBox 26">
              <a:extLst>
                <a:ext uri="{FF2B5EF4-FFF2-40B4-BE49-F238E27FC236}">
                  <a16:creationId xmlns:a16="http://schemas.microsoft.com/office/drawing/2014/main" id="{FB75E11F-29E8-9D29-870A-8A0B8948DF97}"/>
                </a:ext>
              </a:extLst>
            </p:cNvPr>
            <p:cNvSpPr txBox="1"/>
            <p:nvPr/>
          </p:nvSpPr>
          <p:spPr>
            <a:xfrm>
              <a:off x="3662647" y="3045674"/>
              <a:ext cx="909177"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dirty="0"/>
                <a:t>Self-service</a:t>
              </a:r>
            </a:p>
          </p:txBody>
        </p:sp>
        <p:sp>
          <p:nvSpPr>
            <p:cNvPr id="28" name="TextBox 27">
              <a:extLst>
                <a:ext uri="{FF2B5EF4-FFF2-40B4-BE49-F238E27FC236}">
                  <a16:creationId xmlns:a16="http://schemas.microsoft.com/office/drawing/2014/main" id="{E267B4D1-4516-4930-259C-53F42E02A3A8}"/>
                </a:ext>
              </a:extLst>
            </p:cNvPr>
            <p:cNvSpPr txBox="1"/>
            <p:nvPr/>
          </p:nvSpPr>
          <p:spPr>
            <a:xfrm>
              <a:off x="2289460" y="2103857"/>
              <a:ext cx="909177"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dirty="0"/>
                <a:t>In-house counsel</a:t>
              </a:r>
            </a:p>
          </p:txBody>
        </p:sp>
        <p:grpSp>
          <p:nvGrpSpPr>
            <p:cNvPr id="35" name="Group 34">
              <a:extLst>
                <a:ext uri="{FF2B5EF4-FFF2-40B4-BE49-F238E27FC236}">
                  <a16:creationId xmlns:a16="http://schemas.microsoft.com/office/drawing/2014/main" id="{BD93BE4A-C6A2-8DFE-11CE-DC96DD2631CB}"/>
                </a:ext>
              </a:extLst>
            </p:cNvPr>
            <p:cNvGrpSpPr/>
            <p:nvPr/>
          </p:nvGrpSpPr>
          <p:grpSpPr>
            <a:xfrm>
              <a:off x="932190" y="1981200"/>
              <a:ext cx="3689351" cy="3689351"/>
              <a:chOff x="1416050" y="1828800"/>
              <a:chExt cx="3689351" cy="3689351"/>
            </a:xfrm>
          </p:grpSpPr>
          <p:sp>
            <p:nvSpPr>
              <p:cNvPr id="37" name="Freeform 7">
                <a:extLst>
                  <a:ext uri="{FF2B5EF4-FFF2-40B4-BE49-F238E27FC236}">
                    <a16:creationId xmlns:a16="http://schemas.microsoft.com/office/drawing/2014/main" id="{BB4A8309-7EDF-3290-A2BC-A405AB118E8E}"/>
                  </a:ext>
                </a:extLst>
              </p:cNvPr>
              <p:cNvSpPr>
                <a:spLocks/>
              </p:cNvSpPr>
              <p:nvPr/>
            </p:nvSpPr>
            <p:spPr bwMode="auto">
              <a:xfrm>
                <a:off x="1524000" y="3979863"/>
                <a:ext cx="1681163" cy="1538288"/>
              </a:xfrm>
              <a:custGeom>
                <a:avLst/>
                <a:gdLst>
                  <a:gd name="T0" fmla="*/ 2027 w 2118"/>
                  <a:gd name="T1" fmla="*/ 1933 h 1937"/>
                  <a:gd name="T2" fmla="*/ 1937 w 2118"/>
                  <a:gd name="T3" fmla="*/ 1925 h 1937"/>
                  <a:gd name="T4" fmla="*/ 1848 w 2118"/>
                  <a:gd name="T5" fmla="*/ 1914 h 1937"/>
                  <a:gd name="T6" fmla="*/ 1760 w 2118"/>
                  <a:gd name="T7" fmla="*/ 1898 h 1937"/>
                  <a:gd name="T8" fmla="*/ 1673 w 2118"/>
                  <a:gd name="T9" fmla="*/ 1881 h 1937"/>
                  <a:gd name="T10" fmla="*/ 1587 w 2118"/>
                  <a:gd name="T11" fmla="*/ 1859 h 1937"/>
                  <a:gd name="T12" fmla="*/ 1502 w 2118"/>
                  <a:gd name="T13" fmla="*/ 1836 h 1937"/>
                  <a:gd name="T14" fmla="*/ 1379 w 2118"/>
                  <a:gd name="T15" fmla="*/ 1793 h 1937"/>
                  <a:gd name="T16" fmla="*/ 1297 w 2118"/>
                  <a:gd name="T17" fmla="*/ 1762 h 1937"/>
                  <a:gd name="T18" fmla="*/ 1179 w 2118"/>
                  <a:gd name="T19" fmla="*/ 1708 h 1937"/>
                  <a:gd name="T20" fmla="*/ 1064 w 2118"/>
                  <a:gd name="T21" fmla="*/ 1649 h 1937"/>
                  <a:gd name="T22" fmla="*/ 953 w 2118"/>
                  <a:gd name="T23" fmla="*/ 1583 h 1937"/>
                  <a:gd name="T24" fmla="*/ 881 w 2118"/>
                  <a:gd name="T25" fmla="*/ 1536 h 1937"/>
                  <a:gd name="T26" fmla="*/ 811 w 2118"/>
                  <a:gd name="T27" fmla="*/ 1486 h 1937"/>
                  <a:gd name="T28" fmla="*/ 677 w 2118"/>
                  <a:gd name="T29" fmla="*/ 1379 h 1937"/>
                  <a:gd name="T30" fmla="*/ 613 w 2118"/>
                  <a:gd name="T31" fmla="*/ 1322 h 1937"/>
                  <a:gd name="T32" fmla="*/ 551 w 2118"/>
                  <a:gd name="T33" fmla="*/ 1264 h 1937"/>
                  <a:gd name="T34" fmla="*/ 490 w 2118"/>
                  <a:gd name="T35" fmla="*/ 1202 h 1937"/>
                  <a:gd name="T36" fmla="*/ 434 w 2118"/>
                  <a:gd name="T37" fmla="*/ 1138 h 1937"/>
                  <a:gd name="T38" fmla="*/ 379 w 2118"/>
                  <a:gd name="T39" fmla="*/ 1074 h 1937"/>
                  <a:gd name="T40" fmla="*/ 327 w 2118"/>
                  <a:gd name="T41" fmla="*/ 1005 h 1937"/>
                  <a:gd name="T42" fmla="*/ 276 w 2118"/>
                  <a:gd name="T43" fmla="*/ 935 h 1937"/>
                  <a:gd name="T44" fmla="*/ 206 w 2118"/>
                  <a:gd name="T45" fmla="*/ 827 h 1937"/>
                  <a:gd name="T46" fmla="*/ 162 w 2118"/>
                  <a:gd name="T47" fmla="*/ 753 h 1937"/>
                  <a:gd name="T48" fmla="*/ 121 w 2118"/>
                  <a:gd name="T49" fmla="*/ 677 h 1937"/>
                  <a:gd name="T50" fmla="*/ 64 w 2118"/>
                  <a:gd name="T51" fmla="*/ 560 h 1937"/>
                  <a:gd name="T52" fmla="*/ 0 w 2118"/>
                  <a:gd name="T53" fmla="*/ 399 h 1937"/>
                  <a:gd name="T54" fmla="*/ 1239 w 2118"/>
                  <a:gd name="T55" fmla="*/ 35 h 1937"/>
                  <a:gd name="T56" fmla="*/ 1270 w 2118"/>
                  <a:gd name="T57" fmla="*/ 99 h 1937"/>
                  <a:gd name="T58" fmla="*/ 1307 w 2118"/>
                  <a:gd name="T59" fmla="*/ 161 h 1937"/>
                  <a:gd name="T60" fmla="*/ 1348 w 2118"/>
                  <a:gd name="T61" fmla="*/ 222 h 1937"/>
                  <a:gd name="T62" fmla="*/ 1391 w 2118"/>
                  <a:gd name="T63" fmla="*/ 278 h 1937"/>
                  <a:gd name="T64" fmla="*/ 1439 w 2118"/>
                  <a:gd name="T65" fmla="*/ 333 h 1937"/>
                  <a:gd name="T66" fmla="*/ 1490 w 2118"/>
                  <a:gd name="T67" fmla="*/ 383 h 1937"/>
                  <a:gd name="T68" fmla="*/ 1544 w 2118"/>
                  <a:gd name="T69" fmla="*/ 428 h 1937"/>
                  <a:gd name="T70" fmla="*/ 1603 w 2118"/>
                  <a:gd name="T71" fmla="*/ 471 h 1937"/>
                  <a:gd name="T72" fmla="*/ 1665 w 2118"/>
                  <a:gd name="T73" fmla="*/ 510 h 1937"/>
                  <a:gd name="T74" fmla="*/ 1696 w 2118"/>
                  <a:gd name="T75" fmla="*/ 527 h 1937"/>
                  <a:gd name="T76" fmla="*/ 1760 w 2118"/>
                  <a:gd name="T77" fmla="*/ 560 h 1937"/>
                  <a:gd name="T78" fmla="*/ 1811 w 2118"/>
                  <a:gd name="T79" fmla="*/ 581 h 1937"/>
                  <a:gd name="T80" fmla="*/ 1863 w 2118"/>
                  <a:gd name="T81" fmla="*/ 599 h 1937"/>
                  <a:gd name="T82" fmla="*/ 1933 w 2118"/>
                  <a:gd name="T83" fmla="*/ 620 h 1937"/>
                  <a:gd name="T84" fmla="*/ 2005 w 2118"/>
                  <a:gd name="T85" fmla="*/ 636 h 1937"/>
                  <a:gd name="T86" fmla="*/ 2081 w 2118"/>
                  <a:gd name="T87" fmla="*/ 646 h 1937"/>
                  <a:gd name="T88" fmla="*/ 2118 w 2118"/>
                  <a:gd name="T89" fmla="*/ 1937 h 1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18" h="1937">
                    <a:moveTo>
                      <a:pt x="2118" y="1937"/>
                    </a:moveTo>
                    <a:lnTo>
                      <a:pt x="2027" y="1933"/>
                    </a:lnTo>
                    <a:lnTo>
                      <a:pt x="1982" y="1929"/>
                    </a:lnTo>
                    <a:lnTo>
                      <a:pt x="1937" y="1925"/>
                    </a:lnTo>
                    <a:lnTo>
                      <a:pt x="1892" y="1919"/>
                    </a:lnTo>
                    <a:lnTo>
                      <a:pt x="1848" y="1914"/>
                    </a:lnTo>
                    <a:lnTo>
                      <a:pt x="1803" y="1906"/>
                    </a:lnTo>
                    <a:lnTo>
                      <a:pt x="1760" y="1898"/>
                    </a:lnTo>
                    <a:lnTo>
                      <a:pt x="1715" y="1890"/>
                    </a:lnTo>
                    <a:lnTo>
                      <a:pt x="1673" y="1881"/>
                    </a:lnTo>
                    <a:lnTo>
                      <a:pt x="1630" y="1871"/>
                    </a:lnTo>
                    <a:lnTo>
                      <a:pt x="1587" y="1859"/>
                    </a:lnTo>
                    <a:lnTo>
                      <a:pt x="1544" y="1848"/>
                    </a:lnTo>
                    <a:lnTo>
                      <a:pt x="1502" y="1836"/>
                    </a:lnTo>
                    <a:lnTo>
                      <a:pt x="1420" y="1809"/>
                    </a:lnTo>
                    <a:lnTo>
                      <a:pt x="1379" y="1793"/>
                    </a:lnTo>
                    <a:lnTo>
                      <a:pt x="1338" y="1778"/>
                    </a:lnTo>
                    <a:lnTo>
                      <a:pt x="1297" y="1762"/>
                    </a:lnTo>
                    <a:lnTo>
                      <a:pt x="1256" y="1744"/>
                    </a:lnTo>
                    <a:lnTo>
                      <a:pt x="1179" y="1708"/>
                    </a:lnTo>
                    <a:lnTo>
                      <a:pt x="1101" y="1669"/>
                    </a:lnTo>
                    <a:lnTo>
                      <a:pt x="1064" y="1649"/>
                    </a:lnTo>
                    <a:lnTo>
                      <a:pt x="1025" y="1628"/>
                    </a:lnTo>
                    <a:lnTo>
                      <a:pt x="953" y="1583"/>
                    </a:lnTo>
                    <a:lnTo>
                      <a:pt x="916" y="1560"/>
                    </a:lnTo>
                    <a:lnTo>
                      <a:pt x="881" y="1536"/>
                    </a:lnTo>
                    <a:lnTo>
                      <a:pt x="846" y="1511"/>
                    </a:lnTo>
                    <a:lnTo>
                      <a:pt x="811" y="1486"/>
                    </a:lnTo>
                    <a:lnTo>
                      <a:pt x="743" y="1433"/>
                    </a:lnTo>
                    <a:lnTo>
                      <a:pt x="677" y="1379"/>
                    </a:lnTo>
                    <a:lnTo>
                      <a:pt x="644" y="1352"/>
                    </a:lnTo>
                    <a:lnTo>
                      <a:pt x="613" y="1322"/>
                    </a:lnTo>
                    <a:lnTo>
                      <a:pt x="582" y="1293"/>
                    </a:lnTo>
                    <a:lnTo>
                      <a:pt x="551" y="1264"/>
                    </a:lnTo>
                    <a:lnTo>
                      <a:pt x="521" y="1233"/>
                    </a:lnTo>
                    <a:lnTo>
                      <a:pt x="490" y="1202"/>
                    </a:lnTo>
                    <a:lnTo>
                      <a:pt x="463" y="1171"/>
                    </a:lnTo>
                    <a:lnTo>
                      <a:pt x="434" y="1138"/>
                    </a:lnTo>
                    <a:lnTo>
                      <a:pt x="407" y="1107"/>
                    </a:lnTo>
                    <a:lnTo>
                      <a:pt x="379" y="1074"/>
                    </a:lnTo>
                    <a:lnTo>
                      <a:pt x="352" y="1038"/>
                    </a:lnTo>
                    <a:lnTo>
                      <a:pt x="327" y="1005"/>
                    </a:lnTo>
                    <a:lnTo>
                      <a:pt x="302" y="970"/>
                    </a:lnTo>
                    <a:lnTo>
                      <a:pt x="276" y="935"/>
                    </a:lnTo>
                    <a:lnTo>
                      <a:pt x="228" y="863"/>
                    </a:lnTo>
                    <a:lnTo>
                      <a:pt x="206" y="827"/>
                    </a:lnTo>
                    <a:lnTo>
                      <a:pt x="183" y="790"/>
                    </a:lnTo>
                    <a:lnTo>
                      <a:pt x="162" y="753"/>
                    </a:lnTo>
                    <a:lnTo>
                      <a:pt x="142" y="716"/>
                    </a:lnTo>
                    <a:lnTo>
                      <a:pt x="121" y="677"/>
                    </a:lnTo>
                    <a:lnTo>
                      <a:pt x="101" y="638"/>
                    </a:lnTo>
                    <a:lnTo>
                      <a:pt x="64" y="560"/>
                    </a:lnTo>
                    <a:lnTo>
                      <a:pt x="31" y="480"/>
                    </a:lnTo>
                    <a:lnTo>
                      <a:pt x="0" y="399"/>
                    </a:lnTo>
                    <a:lnTo>
                      <a:pt x="1225" y="0"/>
                    </a:lnTo>
                    <a:lnTo>
                      <a:pt x="1239" y="35"/>
                    </a:lnTo>
                    <a:lnTo>
                      <a:pt x="1255" y="68"/>
                    </a:lnTo>
                    <a:lnTo>
                      <a:pt x="1270" y="99"/>
                    </a:lnTo>
                    <a:lnTo>
                      <a:pt x="1288" y="132"/>
                    </a:lnTo>
                    <a:lnTo>
                      <a:pt x="1307" y="161"/>
                    </a:lnTo>
                    <a:lnTo>
                      <a:pt x="1327" y="193"/>
                    </a:lnTo>
                    <a:lnTo>
                      <a:pt x="1348" y="222"/>
                    </a:lnTo>
                    <a:lnTo>
                      <a:pt x="1369" y="251"/>
                    </a:lnTo>
                    <a:lnTo>
                      <a:pt x="1391" y="278"/>
                    </a:lnTo>
                    <a:lnTo>
                      <a:pt x="1414" y="305"/>
                    </a:lnTo>
                    <a:lnTo>
                      <a:pt x="1439" y="333"/>
                    </a:lnTo>
                    <a:lnTo>
                      <a:pt x="1465" y="358"/>
                    </a:lnTo>
                    <a:lnTo>
                      <a:pt x="1490" y="383"/>
                    </a:lnTo>
                    <a:lnTo>
                      <a:pt x="1517" y="406"/>
                    </a:lnTo>
                    <a:lnTo>
                      <a:pt x="1544" y="428"/>
                    </a:lnTo>
                    <a:lnTo>
                      <a:pt x="1573" y="451"/>
                    </a:lnTo>
                    <a:lnTo>
                      <a:pt x="1603" y="471"/>
                    </a:lnTo>
                    <a:lnTo>
                      <a:pt x="1634" y="492"/>
                    </a:lnTo>
                    <a:lnTo>
                      <a:pt x="1665" y="510"/>
                    </a:lnTo>
                    <a:lnTo>
                      <a:pt x="1680" y="519"/>
                    </a:lnTo>
                    <a:lnTo>
                      <a:pt x="1696" y="527"/>
                    </a:lnTo>
                    <a:lnTo>
                      <a:pt x="1727" y="545"/>
                    </a:lnTo>
                    <a:lnTo>
                      <a:pt x="1760" y="560"/>
                    </a:lnTo>
                    <a:lnTo>
                      <a:pt x="1793" y="574"/>
                    </a:lnTo>
                    <a:lnTo>
                      <a:pt x="1811" y="581"/>
                    </a:lnTo>
                    <a:lnTo>
                      <a:pt x="1828" y="587"/>
                    </a:lnTo>
                    <a:lnTo>
                      <a:pt x="1863" y="599"/>
                    </a:lnTo>
                    <a:lnTo>
                      <a:pt x="1898" y="611"/>
                    </a:lnTo>
                    <a:lnTo>
                      <a:pt x="1933" y="620"/>
                    </a:lnTo>
                    <a:lnTo>
                      <a:pt x="1970" y="628"/>
                    </a:lnTo>
                    <a:lnTo>
                      <a:pt x="2005" y="636"/>
                    </a:lnTo>
                    <a:lnTo>
                      <a:pt x="2042" y="642"/>
                    </a:lnTo>
                    <a:lnTo>
                      <a:pt x="2081" y="646"/>
                    </a:lnTo>
                    <a:lnTo>
                      <a:pt x="2118" y="650"/>
                    </a:lnTo>
                    <a:lnTo>
                      <a:pt x="2118" y="1937"/>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IN" dirty="0"/>
              </a:p>
            </p:txBody>
          </p:sp>
          <p:sp>
            <p:nvSpPr>
              <p:cNvPr id="38" name="Freeform 8">
                <a:extLst>
                  <a:ext uri="{FF2B5EF4-FFF2-40B4-BE49-F238E27FC236}">
                    <a16:creationId xmlns:a16="http://schemas.microsoft.com/office/drawing/2014/main" id="{CB2C460D-FEDF-5B9B-9C3E-A382638E8C94}"/>
                  </a:ext>
                </a:extLst>
              </p:cNvPr>
              <p:cNvSpPr>
                <a:spLocks/>
              </p:cNvSpPr>
              <p:nvPr/>
            </p:nvSpPr>
            <p:spPr bwMode="auto">
              <a:xfrm>
                <a:off x="3287783" y="3975172"/>
                <a:ext cx="1682750" cy="1538288"/>
              </a:xfrm>
              <a:custGeom>
                <a:avLst/>
                <a:gdLst>
                  <a:gd name="T0" fmla="*/ 2104 w 2120"/>
                  <a:gd name="T1" fmla="*/ 439 h 1937"/>
                  <a:gd name="T2" fmla="*/ 2071 w 2120"/>
                  <a:gd name="T3" fmla="*/ 521 h 1937"/>
                  <a:gd name="T4" fmla="*/ 2036 w 2120"/>
                  <a:gd name="T5" fmla="*/ 599 h 1937"/>
                  <a:gd name="T6" fmla="*/ 1997 w 2120"/>
                  <a:gd name="T7" fmla="*/ 677 h 1937"/>
                  <a:gd name="T8" fmla="*/ 1957 w 2120"/>
                  <a:gd name="T9" fmla="*/ 753 h 1937"/>
                  <a:gd name="T10" fmla="*/ 1890 w 2120"/>
                  <a:gd name="T11" fmla="*/ 863 h 1937"/>
                  <a:gd name="T12" fmla="*/ 1844 w 2120"/>
                  <a:gd name="T13" fmla="*/ 935 h 1937"/>
                  <a:gd name="T14" fmla="*/ 1793 w 2120"/>
                  <a:gd name="T15" fmla="*/ 1005 h 1937"/>
                  <a:gd name="T16" fmla="*/ 1741 w 2120"/>
                  <a:gd name="T17" fmla="*/ 1074 h 1937"/>
                  <a:gd name="T18" fmla="*/ 1686 w 2120"/>
                  <a:gd name="T19" fmla="*/ 1138 h 1937"/>
                  <a:gd name="T20" fmla="*/ 1599 w 2120"/>
                  <a:gd name="T21" fmla="*/ 1233 h 1937"/>
                  <a:gd name="T22" fmla="*/ 1507 w 2120"/>
                  <a:gd name="T23" fmla="*/ 1322 h 1937"/>
                  <a:gd name="T24" fmla="*/ 1443 w 2120"/>
                  <a:gd name="T25" fmla="*/ 1379 h 1937"/>
                  <a:gd name="T26" fmla="*/ 1377 w 2120"/>
                  <a:gd name="T27" fmla="*/ 1433 h 1937"/>
                  <a:gd name="T28" fmla="*/ 1309 w 2120"/>
                  <a:gd name="T29" fmla="*/ 1486 h 1937"/>
                  <a:gd name="T30" fmla="*/ 1239 w 2120"/>
                  <a:gd name="T31" fmla="*/ 1536 h 1937"/>
                  <a:gd name="T32" fmla="*/ 1130 w 2120"/>
                  <a:gd name="T33" fmla="*/ 1604 h 1937"/>
                  <a:gd name="T34" fmla="*/ 1056 w 2120"/>
                  <a:gd name="T35" fmla="*/ 1649 h 1937"/>
                  <a:gd name="T36" fmla="*/ 980 w 2120"/>
                  <a:gd name="T37" fmla="*/ 1688 h 1937"/>
                  <a:gd name="T38" fmla="*/ 901 w 2120"/>
                  <a:gd name="T39" fmla="*/ 1727 h 1937"/>
                  <a:gd name="T40" fmla="*/ 823 w 2120"/>
                  <a:gd name="T41" fmla="*/ 1762 h 1937"/>
                  <a:gd name="T42" fmla="*/ 700 w 2120"/>
                  <a:gd name="T43" fmla="*/ 1809 h 1937"/>
                  <a:gd name="T44" fmla="*/ 617 w 2120"/>
                  <a:gd name="T45" fmla="*/ 1836 h 1937"/>
                  <a:gd name="T46" fmla="*/ 533 w 2120"/>
                  <a:gd name="T47" fmla="*/ 1859 h 1937"/>
                  <a:gd name="T48" fmla="*/ 447 w 2120"/>
                  <a:gd name="T49" fmla="*/ 1881 h 1937"/>
                  <a:gd name="T50" fmla="*/ 360 w 2120"/>
                  <a:gd name="T51" fmla="*/ 1898 h 1937"/>
                  <a:gd name="T52" fmla="*/ 270 w 2120"/>
                  <a:gd name="T53" fmla="*/ 1914 h 1937"/>
                  <a:gd name="T54" fmla="*/ 183 w 2120"/>
                  <a:gd name="T55" fmla="*/ 1925 h 1937"/>
                  <a:gd name="T56" fmla="*/ 91 w 2120"/>
                  <a:gd name="T57" fmla="*/ 1933 h 1937"/>
                  <a:gd name="T58" fmla="*/ 0 w 2120"/>
                  <a:gd name="T59" fmla="*/ 1937 h 1937"/>
                  <a:gd name="T60" fmla="*/ 39 w 2120"/>
                  <a:gd name="T61" fmla="*/ 646 h 1937"/>
                  <a:gd name="T62" fmla="*/ 113 w 2120"/>
                  <a:gd name="T63" fmla="*/ 636 h 1937"/>
                  <a:gd name="T64" fmla="*/ 185 w 2120"/>
                  <a:gd name="T65" fmla="*/ 620 h 1937"/>
                  <a:gd name="T66" fmla="*/ 257 w 2120"/>
                  <a:gd name="T67" fmla="*/ 599 h 1937"/>
                  <a:gd name="T68" fmla="*/ 325 w 2120"/>
                  <a:gd name="T69" fmla="*/ 574 h 1937"/>
                  <a:gd name="T70" fmla="*/ 391 w 2120"/>
                  <a:gd name="T71" fmla="*/ 545 h 1937"/>
                  <a:gd name="T72" fmla="*/ 455 w 2120"/>
                  <a:gd name="T73" fmla="*/ 510 h 1937"/>
                  <a:gd name="T74" fmla="*/ 515 w 2120"/>
                  <a:gd name="T75" fmla="*/ 471 h 1937"/>
                  <a:gd name="T76" fmla="*/ 574 w 2120"/>
                  <a:gd name="T77" fmla="*/ 428 h 1937"/>
                  <a:gd name="T78" fmla="*/ 628 w 2120"/>
                  <a:gd name="T79" fmla="*/ 383 h 1937"/>
                  <a:gd name="T80" fmla="*/ 681 w 2120"/>
                  <a:gd name="T81" fmla="*/ 333 h 1937"/>
                  <a:gd name="T82" fmla="*/ 727 w 2120"/>
                  <a:gd name="T83" fmla="*/ 278 h 1937"/>
                  <a:gd name="T84" fmla="*/ 772 w 2120"/>
                  <a:gd name="T85" fmla="*/ 222 h 1937"/>
                  <a:gd name="T86" fmla="*/ 794 w 2120"/>
                  <a:gd name="T87" fmla="*/ 193 h 1937"/>
                  <a:gd name="T88" fmla="*/ 831 w 2120"/>
                  <a:gd name="T89" fmla="*/ 132 h 1937"/>
                  <a:gd name="T90" fmla="*/ 866 w 2120"/>
                  <a:gd name="T91" fmla="*/ 68 h 1937"/>
                  <a:gd name="T92" fmla="*/ 895 w 2120"/>
                  <a:gd name="T93" fmla="*/ 0 h 1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0" h="1937">
                    <a:moveTo>
                      <a:pt x="2120" y="399"/>
                    </a:moveTo>
                    <a:lnTo>
                      <a:pt x="2104" y="439"/>
                    </a:lnTo>
                    <a:lnTo>
                      <a:pt x="2089" y="480"/>
                    </a:lnTo>
                    <a:lnTo>
                      <a:pt x="2071" y="521"/>
                    </a:lnTo>
                    <a:lnTo>
                      <a:pt x="2054" y="560"/>
                    </a:lnTo>
                    <a:lnTo>
                      <a:pt x="2036" y="599"/>
                    </a:lnTo>
                    <a:lnTo>
                      <a:pt x="2017" y="638"/>
                    </a:lnTo>
                    <a:lnTo>
                      <a:pt x="1997" y="677"/>
                    </a:lnTo>
                    <a:lnTo>
                      <a:pt x="1978" y="716"/>
                    </a:lnTo>
                    <a:lnTo>
                      <a:pt x="1957" y="753"/>
                    </a:lnTo>
                    <a:lnTo>
                      <a:pt x="1935" y="790"/>
                    </a:lnTo>
                    <a:lnTo>
                      <a:pt x="1890" y="863"/>
                    </a:lnTo>
                    <a:lnTo>
                      <a:pt x="1867" y="900"/>
                    </a:lnTo>
                    <a:lnTo>
                      <a:pt x="1844" y="935"/>
                    </a:lnTo>
                    <a:lnTo>
                      <a:pt x="1818" y="970"/>
                    </a:lnTo>
                    <a:lnTo>
                      <a:pt x="1793" y="1005"/>
                    </a:lnTo>
                    <a:lnTo>
                      <a:pt x="1766" y="1038"/>
                    </a:lnTo>
                    <a:lnTo>
                      <a:pt x="1741" y="1074"/>
                    </a:lnTo>
                    <a:lnTo>
                      <a:pt x="1713" y="1107"/>
                    </a:lnTo>
                    <a:lnTo>
                      <a:pt x="1686" y="1138"/>
                    </a:lnTo>
                    <a:lnTo>
                      <a:pt x="1628" y="1202"/>
                    </a:lnTo>
                    <a:lnTo>
                      <a:pt x="1599" y="1233"/>
                    </a:lnTo>
                    <a:lnTo>
                      <a:pt x="1568" y="1264"/>
                    </a:lnTo>
                    <a:lnTo>
                      <a:pt x="1507" y="1322"/>
                    </a:lnTo>
                    <a:lnTo>
                      <a:pt x="1474" y="1352"/>
                    </a:lnTo>
                    <a:lnTo>
                      <a:pt x="1443" y="1379"/>
                    </a:lnTo>
                    <a:lnTo>
                      <a:pt x="1410" y="1406"/>
                    </a:lnTo>
                    <a:lnTo>
                      <a:pt x="1377" y="1433"/>
                    </a:lnTo>
                    <a:lnTo>
                      <a:pt x="1342" y="1461"/>
                    </a:lnTo>
                    <a:lnTo>
                      <a:pt x="1309" y="1486"/>
                    </a:lnTo>
                    <a:lnTo>
                      <a:pt x="1274" y="1511"/>
                    </a:lnTo>
                    <a:lnTo>
                      <a:pt x="1239" y="1536"/>
                    </a:lnTo>
                    <a:lnTo>
                      <a:pt x="1167" y="1583"/>
                    </a:lnTo>
                    <a:lnTo>
                      <a:pt x="1130" y="1604"/>
                    </a:lnTo>
                    <a:lnTo>
                      <a:pt x="1093" y="1628"/>
                    </a:lnTo>
                    <a:lnTo>
                      <a:pt x="1056" y="1649"/>
                    </a:lnTo>
                    <a:lnTo>
                      <a:pt x="1017" y="1669"/>
                    </a:lnTo>
                    <a:lnTo>
                      <a:pt x="980" y="1688"/>
                    </a:lnTo>
                    <a:lnTo>
                      <a:pt x="941" y="1708"/>
                    </a:lnTo>
                    <a:lnTo>
                      <a:pt x="901" y="1727"/>
                    </a:lnTo>
                    <a:lnTo>
                      <a:pt x="862" y="1744"/>
                    </a:lnTo>
                    <a:lnTo>
                      <a:pt x="823" y="1762"/>
                    </a:lnTo>
                    <a:lnTo>
                      <a:pt x="782" y="1778"/>
                    </a:lnTo>
                    <a:lnTo>
                      <a:pt x="700" y="1809"/>
                    </a:lnTo>
                    <a:lnTo>
                      <a:pt x="659" y="1822"/>
                    </a:lnTo>
                    <a:lnTo>
                      <a:pt x="617" y="1836"/>
                    </a:lnTo>
                    <a:lnTo>
                      <a:pt x="574" y="1848"/>
                    </a:lnTo>
                    <a:lnTo>
                      <a:pt x="533" y="1859"/>
                    </a:lnTo>
                    <a:lnTo>
                      <a:pt x="490" y="1871"/>
                    </a:lnTo>
                    <a:lnTo>
                      <a:pt x="447" y="1881"/>
                    </a:lnTo>
                    <a:lnTo>
                      <a:pt x="403" y="1890"/>
                    </a:lnTo>
                    <a:lnTo>
                      <a:pt x="360" y="1898"/>
                    </a:lnTo>
                    <a:lnTo>
                      <a:pt x="315" y="1906"/>
                    </a:lnTo>
                    <a:lnTo>
                      <a:pt x="270" y="1914"/>
                    </a:lnTo>
                    <a:lnTo>
                      <a:pt x="228" y="1919"/>
                    </a:lnTo>
                    <a:lnTo>
                      <a:pt x="183" y="1925"/>
                    </a:lnTo>
                    <a:lnTo>
                      <a:pt x="136" y="1929"/>
                    </a:lnTo>
                    <a:lnTo>
                      <a:pt x="91" y="1933"/>
                    </a:lnTo>
                    <a:lnTo>
                      <a:pt x="47" y="1935"/>
                    </a:lnTo>
                    <a:lnTo>
                      <a:pt x="0" y="1937"/>
                    </a:lnTo>
                    <a:lnTo>
                      <a:pt x="0" y="650"/>
                    </a:lnTo>
                    <a:lnTo>
                      <a:pt x="39" y="646"/>
                    </a:lnTo>
                    <a:lnTo>
                      <a:pt x="76" y="642"/>
                    </a:lnTo>
                    <a:lnTo>
                      <a:pt x="113" y="636"/>
                    </a:lnTo>
                    <a:lnTo>
                      <a:pt x="150" y="628"/>
                    </a:lnTo>
                    <a:lnTo>
                      <a:pt x="185" y="620"/>
                    </a:lnTo>
                    <a:lnTo>
                      <a:pt x="222" y="611"/>
                    </a:lnTo>
                    <a:lnTo>
                      <a:pt x="257" y="599"/>
                    </a:lnTo>
                    <a:lnTo>
                      <a:pt x="292" y="587"/>
                    </a:lnTo>
                    <a:lnTo>
                      <a:pt x="325" y="574"/>
                    </a:lnTo>
                    <a:lnTo>
                      <a:pt x="358" y="560"/>
                    </a:lnTo>
                    <a:lnTo>
                      <a:pt x="391" y="545"/>
                    </a:lnTo>
                    <a:lnTo>
                      <a:pt x="424" y="527"/>
                    </a:lnTo>
                    <a:lnTo>
                      <a:pt x="455" y="510"/>
                    </a:lnTo>
                    <a:lnTo>
                      <a:pt x="486" y="492"/>
                    </a:lnTo>
                    <a:lnTo>
                      <a:pt x="515" y="471"/>
                    </a:lnTo>
                    <a:lnTo>
                      <a:pt x="545" y="451"/>
                    </a:lnTo>
                    <a:lnTo>
                      <a:pt x="574" y="428"/>
                    </a:lnTo>
                    <a:lnTo>
                      <a:pt x="601" y="406"/>
                    </a:lnTo>
                    <a:lnTo>
                      <a:pt x="628" y="383"/>
                    </a:lnTo>
                    <a:lnTo>
                      <a:pt x="655" y="358"/>
                    </a:lnTo>
                    <a:lnTo>
                      <a:pt x="681" y="333"/>
                    </a:lnTo>
                    <a:lnTo>
                      <a:pt x="704" y="305"/>
                    </a:lnTo>
                    <a:lnTo>
                      <a:pt x="727" y="278"/>
                    </a:lnTo>
                    <a:lnTo>
                      <a:pt x="751" y="251"/>
                    </a:lnTo>
                    <a:lnTo>
                      <a:pt x="772" y="222"/>
                    </a:lnTo>
                    <a:lnTo>
                      <a:pt x="782" y="208"/>
                    </a:lnTo>
                    <a:lnTo>
                      <a:pt x="794" y="193"/>
                    </a:lnTo>
                    <a:lnTo>
                      <a:pt x="813" y="161"/>
                    </a:lnTo>
                    <a:lnTo>
                      <a:pt x="831" y="132"/>
                    </a:lnTo>
                    <a:lnTo>
                      <a:pt x="848" y="99"/>
                    </a:lnTo>
                    <a:lnTo>
                      <a:pt x="866" y="68"/>
                    </a:lnTo>
                    <a:lnTo>
                      <a:pt x="879" y="35"/>
                    </a:lnTo>
                    <a:lnTo>
                      <a:pt x="895" y="0"/>
                    </a:lnTo>
                    <a:lnTo>
                      <a:pt x="2120" y="399"/>
                    </a:lnTo>
                    <a:close/>
                  </a:path>
                </a:pathLst>
              </a:custGeom>
              <a:solidFill>
                <a:srgbClr val="C4C4CD"/>
              </a:solidFill>
              <a:ln>
                <a:noFill/>
              </a:ln>
              <a:effectLst/>
            </p:spPr>
            <p:txBody>
              <a:bodyPr vert="horz" wrap="square" lIns="91440" tIns="45720" rIns="91440" bIns="45720" numCol="1" anchor="t" anchorCtr="0" compatLnSpc="1">
                <a:prstTxWarp prst="textNoShape">
                  <a:avLst/>
                </a:prstTxWarp>
              </a:bodyPr>
              <a:lstStyle/>
              <a:p>
                <a:endParaRPr lang="en-IN" dirty="0"/>
              </a:p>
            </p:txBody>
          </p:sp>
          <p:sp>
            <p:nvSpPr>
              <p:cNvPr id="39" name="Freeform 9">
                <a:extLst>
                  <a:ext uri="{FF2B5EF4-FFF2-40B4-BE49-F238E27FC236}">
                    <a16:creationId xmlns:a16="http://schemas.microsoft.com/office/drawing/2014/main" id="{68544038-9852-169D-A1DC-CA3B0A25C741}"/>
                  </a:ext>
                </a:extLst>
              </p:cNvPr>
              <p:cNvSpPr>
                <a:spLocks/>
              </p:cNvSpPr>
              <p:nvPr/>
            </p:nvSpPr>
            <p:spPr bwMode="auto">
              <a:xfrm>
                <a:off x="3789363" y="2214563"/>
                <a:ext cx="1316038" cy="1978025"/>
              </a:xfrm>
              <a:custGeom>
                <a:avLst/>
                <a:gdLst>
                  <a:gd name="T0" fmla="*/ 809 w 1659"/>
                  <a:gd name="T1" fmla="*/ 41 h 2491"/>
                  <a:gd name="T2" fmla="*/ 906 w 1659"/>
                  <a:gd name="T3" fmla="*/ 127 h 2491"/>
                  <a:gd name="T4" fmla="*/ 1000 w 1659"/>
                  <a:gd name="T5" fmla="*/ 216 h 2491"/>
                  <a:gd name="T6" fmla="*/ 1087 w 1659"/>
                  <a:gd name="T7" fmla="*/ 313 h 2491"/>
                  <a:gd name="T8" fmla="*/ 1171 w 1659"/>
                  <a:gd name="T9" fmla="*/ 412 h 2491"/>
                  <a:gd name="T10" fmla="*/ 1249 w 1659"/>
                  <a:gd name="T11" fmla="*/ 517 h 2491"/>
                  <a:gd name="T12" fmla="*/ 1319 w 1659"/>
                  <a:gd name="T13" fmla="*/ 626 h 2491"/>
                  <a:gd name="T14" fmla="*/ 1385 w 1659"/>
                  <a:gd name="T15" fmla="*/ 741 h 2491"/>
                  <a:gd name="T16" fmla="*/ 1443 w 1659"/>
                  <a:gd name="T17" fmla="*/ 858 h 2491"/>
                  <a:gd name="T18" fmla="*/ 1470 w 1659"/>
                  <a:gd name="T19" fmla="*/ 918 h 2491"/>
                  <a:gd name="T20" fmla="*/ 1519 w 1659"/>
                  <a:gd name="T21" fmla="*/ 1041 h 2491"/>
                  <a:gd name="T22" fmla="*/ 1562 w 1659"/>
                  <a:gd name="T23" fmla="*/ 1167 h 2491"/>
                  <a:gd name="T24" fmla="*/ 1597 w 1659"/>
                  <a:gd name="T25" fmla="*/ 1295 h 2491"/>
                  <a:gd name="T26" fmla="*/ 1624 w 1659"/>
                  <a:gd name="T27" fmla="*/ 1428 h 2491"/>
                  <a:gd name="T28" fmla="*/ 1644 w 1659"/>
                  <a:gd name="T29" fmla="*/ 1562 h 2491"/>
                  <a:gd name="T30" fmla="*/ 1653 w 1659"/>
                  <a:gd name="T31" fmla="*/ 1665 h 2491"/>
                  <a:gd name="T32" fmla="*/ 1657 w 1659"/>
                  <a:gd name="T33" fmla="*/ 1735 h 2491"/>
                  <a:gd name="T34" fmla="*/ 1659 w 1659"/>
                  <a:gd name="T35" fmla="*/ 1840 h 2491"/>
                  <a:gd name="T36" fmla="*/ 1657 w 1659"/>
                  <a:gd name="T37" fmla="*/ 1966 h 2491"/>
                  <a:gd name="T38" fmla="*/ 1645 w 1659"/>
                  <a:gd name="T39" fmla="*/ 2091 h 2491"/>
                  <a:gd name="T40" fmla="*/ 1636 w 1659"/>
                  <a:gd name="T41" fmla="*/ 2172 h 2491"/>
                  <a:gd name="T42" fmla="*/ 1622 w 1659"/>
                  <a:gd name="T43" fmla="*/ 2254 h 2491"/>
                  <a:gd name="T44" fmla="*/ 1589 w 1659"/>
                  <a:gd name="T45" fmla="*/ 2412 h 2491"/>
                  <a:gd name="T46" fmla="*/ 1568 w 1659"/>
                  <a:gd name="T47" fmla="*/ 2491 h 2491"/>
                  <a:gd name="T48" fmla="*/ 350 w 1659"/>
                  <a:gd name="T49" fmla="*/ 2062 h 2491"/>
                  <a:gd name="T50" fmla="*/ 362 w 1659"/>
                  <a:gd name="T51" fmla="*/ 1999 h 2491"/>
                  <a:gd name="T52" fmla="*/ 370 w 1659"/>
                  <a:gd name="T53" fmla="*/ 1937 h 2491"/>
                  <a:gd name="T54" fmla="*/ 374 w 1659"/>
                  <a:gd name="T55" fmla="*/ 1871 h 2491"/>
                  <a:gd name="T56" fmla="*/ 372 w 1659"/>
                  <a:gd name="T57" fmla="*/ 1780 h 2491"/>
                  <a:gd name="T58" fmla="*/ 368 w 1659"/>
                  <a:gd name="T59" fmla="*/ 1721 h 2491"/>
                  <a:gd name="T60" fmla="*/ 358 w 1659"/>
                  <a:gd name="T61" fmla="*/ 1663 h 2491"/>
                  <a:gd name="T62" fmla="*/ 348 w 1659"/>
                  <a:gd name="T63" fmla="*/ 1607 h 2491"/>
                  <a:gd name="T64" fmla="*/ 333 w 1659"/>
                  <a:gd name="T65" fmla="*/ 1550 h 2491"/>
                  <a:gd name="T66" fmla="*/ 315 w 1659"/>
                  <a:gd name="T67" fmla="*/ 1496 h 2491"/>
                  <a:gd name="T68" fmla="*/ 284 w 1659"/>
                  <a:gd name="T69" fmla="*/ 1418 h 2491"/>
                  <a:gd name="T70" fmla="*/ 261 w 1659"/>
                  <a:gd name="T71" fmla="*/ 1367 h 2491"/>
                  <a:gd name="T72" fmla="*/ 234 w 1659"/>
                  <a:gd name="T73" fmla="*/ 1317 h 2491"/>
                  <a:gd name="T74" fmla="*/ 204 w 1659"/>
                  <a:gd name="T75" fmla="*/ 1270 h 2491"/>
                  <a:gd name="T76" fmla="*/ 171 w 1659"/>
                  <a:gd name="T77" fmla="*/ 1223 h 2491"/>
                  <a:gd name="T78" fmla="*/ 138 w 1659"/>
                  <a:gd name="T79" fmla="*/ 1181 h 2491"/>
                  <a:gd name="T80" fmla="*/ 101 w 1659"/>
                  <a:gd name="T81" fmla="*/ 1138 h 2491"/>
                  <a:gd name="T82" fmla="*/ 62 w 1659"/>
                  <a:gd name="T83" fmla="*/ 1099 h 2491"/>
                  <a:gd name="T84" fmla="*/ 0 w 1659"/>
                  <a:gd name="T85" fmla="*/ 1043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9" h="2491">
                    <a:moveTo>
                      <a:pt x="759" y="0"/>
                    </a:moveTo>
                    <a:lnTo>
                      <a:pt x="809" y="41"/>
                    </a:lnTo>
                    <a:lnTo>
                      <a:pt x="858" y="84"/>
                    </a:lnTo>
                    <a:lnTo>
                      <a:pt x="906" y="127"/>
                    </a:lnTo>
                    <a:lnTo>
                      <a:pt x="955" y="171"/>
                    </a:lnTo>
                    <a:lnTo>
                      <a:pt x="1000" y="216"/>
                    </a:lnTo>
                    <a:lnTo>
                      <a:pt x="1045" y="265"/>
                    </a:lnTo>
                    <a:lnTo>
                      <a:pt x="1087" y="313"/>
                    </a:lnTo>
                    <a:lnTo>
                      <a:pt x="1130" y="362"/>
                    </a:lnTo>
                    <a:lnTo>
                      <a:pt x="1171" y="412"/>
                    </a:lnTo>
                    <a:lnTo>
                      <a:pt x="1210" y="465"/>
                    </a:lnTo>
                    <a:lnTo>
                      <a:pt x="1249" y="517"/>
                    </a:lnTo>
                    <a:lnTo>
                      <a:pt x="1284" y="572"/>
                    </a:lnTo>
                    <a:lnTo>
                      <a:pt x="1319" y="626"/>
                    </a:lnTo>
                    <a:lnTo>
                      <a:pt x="1352" y="683"/>
                    </a:lnTo>
                    <a:lnTo>
                      <a:pt x="1385" y="741"/>
                    </a:lnTo>
                    <a:lnTo>
                      <a:pt x="1414" y="799"/>
                    </a:lnTo>
                    <a:lnTo>
                      <a:pt x="1443" y="858"/>
                    </a:lnTo>
                    <a:lnTo>
                      <a:pt x="1457" y="887"/>
                    </a:lnTo>
                    <a:lnTo>
                      <a:pt x="1470" y="918"/>
                    </a:lnTo>
                    <a:lnTo>
                      <a:pt x="1496" y="978"/>
                    </a:lnTo>
                    <a:lnTo>
                      <a:pt x="1519" y="1041"/>
                    </a:lnTo>
                    <a:lnTo>
                      <a:pt x="1540" y="1103"/>
                    </a:lnTo>
                    <a:lnTo>
                      <a:pt x="1562" y="1167"/>
                    </a:lnTo>
                    <a:lnTo>
                      <a:pt x="1579" y="1231"/>
                    </a:lnTo>
                    <a:lnTo>
                      <a:pt x="1597" y="1295"/>
                    </a:lnTo>
                    <a:lnTo>
                      <a:pt x="1610" y="1361"/>
                    </a:lnTo>
                    <a:lnTo>
                      <a:pt x="1624" y="1428"/>
                    </a:lnTo>
                    <a:lnTo>
                      <a:pt x="1634" y="1496"/>
                    </a:lnTo>
                    <a:lnTo>
                      <a:pt x="1644" y="1562"/>
                    </a:lnTo>
                    <a:lnTo>
                      <a:pt x="1651" y="1632"/>
                    </a:lnTo>
                    <a:lnTo>
                      <a:pt x="1653" y="1665"/>
                    </a:lnTo>
                    <a:lnTo>
                      <a:pt x="1655" y="1700"/>
                    </a:lnTo>
                    <a:lnTo>
                      <a:pt x="1657" y="1735"/>
                    </a:lnTo>
                    <a:lnTo>
                      <a:pt x="1659" y="1770"/>
                    </a:lnTo>
                    <a:lnTo>
                      <a:pt x="1659" y="1840"/>
                    </a:lnTo>
                    <a:lnTo>
                      <a:pt x="1659" y="1924"/>
                    </a:lnTo>
                    <a:lnTo>
                      <a:pt x="1657" y="1966"/>
                    </a:lnTo>
                    <a:lnTo>
                      <a:pt x="1653" y="2007"/>
                    </a:lnTo>
                    <a:lnTo>
                      <a:pt x="1645" y="2091"/>
                    </a:lnTo>
                    <a:lnTo>
                      <a:pt x="1642" y="2132"/>
                    </a:lnTo>
                    <a:lnTo>
                      <a:pt x="1636" y="2172"/>
                    </a:lnTo>
                    <a:lnTo>
                      <a:pt x="1630" y="2213"/>
                    </a:lnTo>
                    <a:lnTo>
                      <a:pt x="1622" y="2254"/>
                    </a:lnTo>
                    <a:lnTo>
                      <a:pt x="1607" y="2334"/>
                    </a:lnTo>
                    <a:lnTo>
                      <a:pt x="1589" y="2412"/>
                    </a:lnTo>
                    <a:lnTo>
                      <a:pt x="1577" y="2453"/>
                    </a:lnTo>
                    <a:lnTo>
                      <a:pt x="1568" y="2491"/>
                    </a:lnTo>
                    <a:lnTo>
                      <a:pt x="342" y="2093"/>
                    </a:lnTo>
                    <a:lnTo>
                      <a:pt x="350" y="2062"/>
                    </a:lnTo>
                    <a:lnTo>
                      <a:pt x="356" y="2030"/>
                    </a:lnTo>
                    <a:lnTo>
                      <a:pt x="362" y="1999"/>
                    </a:lnTo>
                    <a:lnTo>
                      <a:pt x="366" y="1968"/>
                    </a:lnTo>
                    <a:lnTo>
                      <a:pt x="370" y="1937"/>
                    </a:lnTo>
                    <a:lnTo>
                      <a:pt x="372" y="1904"/>
                    </a:lnTo>
                    <a:lnTo>
                      <a:pt x="374" y="1871"/>
                    </a:lnTo>
                    <a:lnTo>
                      <a:pt x="374" y="1840"/>
                    </a:lnTo>
                    <a:lnTo>
                      <a:pt x="372" y="1780"/>
                    </a:lnTo>
                    <a:lnTo>
                      <a:pt x="370" y="1750"/>
                    </a:lnTo>
                    <a:lnTo>
                      <a:pt x="368" y="1721"/>
                    </a:lnTo>
                    <a:lnTo>
                      <a:pt x="364" y="1692"/>
                    </a:lnTo>
                    <a:lnTo>
                      <a:pt x="358" y="1663"/>
                    </a:lnTo>
                    <a:lnTo>
                      <a:pt x="354" y="1634"/>
                    </a:lnTo>
                    <a:lnTo>
                      <a:pt x="348" y="1607"/>
                    </a:lnTo>
                    <a:lnTo>
                      <a:pt x="341" y="1579"/>
                    </a:lnTo>
                    <a:lnTo>
                      <a:pt x="333" y="1550"/>
                    </a:lnTo>
                    <a:lnTo>
                      <a:pt x="325" y="1523"/>
                    </a:lnTo>
                    <a:lnTo>
                      <a:pt x="315" y="1496"/>
                    </a:lnTo>
                    <a:lnTo>
                      <a:pt x="296" y="1443"/>
                    </a:lnTo>
                    <a:lnTo>
                      <a:pt x="284" y="1418"/>
                    </a:lnTo>
                    <a:lnTo>
                      <a:pt x="272" y="1393"/>
                    </a:lnTo>
                    <a:lnTo>
                      <a:pt x="261" y="1367"/>
                    </a:lnTo>
                    <a:lnTo>
                      <a:pt x="247" y="1342"/>
                    </a:lnTo>
                    <a:lnTo>
                      <a:pt x="234" y="1317"/>
                    </a:lnTo>
                    <a:lnTo>
                      <a:pt x="220" y="1293"/>
                    </a:lnTo>
                    <a:lnTo>
                      <a:pt x="204" y="1270"/>
                    </a:lnTo>
                    <a:lnTo>
                      <a:pt x="189" y="1247"/>
                    </a:lnTo>
                    <a:lnTo>
                      <a:pt x="171" y="1223"/>
                    </a:lnTo>
                    <a:lnTo>
                      <a:pt x="156" y="1202"/>
                    </a:lnTo>
                    <a:lnTo>
                      <a:pt x="138" y="1181"/>
                    </a:lnTo>
                    <a:lnTo>
                      <a:pt x="121" y="1159"/>
                    </a:lnTo>
                    <a:lnTo>
                      <a:pt x="101" y="1138"/>
                    </a:lnTo>
                    <a:lnTo>
                      <a:pt x="82" y="1118"/>
                    </a:lnTo>
                    <a:lnTo>
                      <a:pt x="62" y="1099"/>
                    </a:lnTo>
                    <a:lnTo>
                      <a:pt x="43" y="1079"/>
                    </a:lnTo>
                    <a:lnTo>
                      <a:pt x="0" y="1043"/>
                    </a:lnTo>
                    <a:lnTo>
                      <a:pt x="759" y="0"/>
                    </a:lnTo>
                    <a:close/>
                  </a:path>
                </a:pathLst>
              </a:custGeom>
              <a:solidFill>
                <a:srgbClr val="747480"/>
              </a:solidFill>
              <a:ln w="9525" cap="flat" cmpd="sng" algn="ctr">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en-IN" dirty="0"/>
              </a:p>
            </p:txBody>
          </p:sp>
          <p:sp>
            <p:nvSpPr>
              <p:cNvPr id="40" name="Freeform 10">
                <a:extLst>
                  <a:ext uri="{FF2B5EF4-FFF2-40B4-BE49-F238E27FC236}">
                    <a16:creationId xmlns:a16="http://schemas.microsoft.com/office/drawing/2014/main" id="{FFFFDFDF-5632-CDAE-C670-E76AD054215B}"/>
                  </a:ext>
                </a:extLst>
              </p:cNvPr>
              <p:cNvSpPr>
                <a:spLocks/>
              </p:cNvSpPr>
              <p:nvPr/>
            </p:nvSpPr>
            <p:spPr bwMode="auto">
              <a:xfrm>
                <a:off x="2222500" y="1828800"/>
                <a:ext cx="2076450" cy="1146174"/>
              </a:xfrm>
              <a:custGeom>
                <a:avLst/>
                <a:gdLst>
                  <a:gd name="T0" fmla="*/ 35 w 2618"/>
                  <a:gd name="T1" fmla="*/ 381 h 1445"/>
                  <a:gd name="T2" fmla="*/ 107 w 2618"/>
                  <a:gd name="T3" fmla="*/ 334 h 1445"/>
                  <a:gd name="T4" fmla="*/ 181 w 2618"/>
                  <a:gd name="T5" fmla="*/ 294 h 1445"/>
                  <a:gd name="T6" fmla="*/ 294 w 2618"/>
                  <a:gd name="T7" fmla="*/ 233 h 1445"/>
                  <a:gd name="T8" fmla="*/ 372 w 2618"/>
                  <a:gd name="T9" fmla="*/ 198 h 1445"/>
                  <a:gd name="T10" fmla="*/ 451 w 2618"/>
                  <a:gd name="T11" fmla="*/ 165 h 1445"/>
                  <a:gd name="T12" fmla="*/ 531 w 2618"/>
                  <a:gd name="T13" fmla="*/ 134 h 1445"/>
                  <a:gd name="T14" fmla="*/ 613 w 2618"/>
                  <a:gd name="T15" fmla="*/ 107 h 1445"/>
                  <a:gd name="T16" fmla="*/ 696 w 2618"/>
                  <a:gd name="T17" fmla="*/ 84 h 1445"/>
                  <a:gd name="T18" fmla="*/ 780 w 2618"/>
                  <a:gd name="T19" fmla="*/ 62 h 1445"/>
                  <a:gd name="T20" fmla="*/ 866 w 2618"/>
                  <a:gd name="T21" fmla="*/ 43 h 1445"/>
                  <a:gd name="T22" fmla="*/ 953 w 2618"/>
                  <a:gd name="T23" fmla="*/ 27 h 1445"/>
                  <a:gd name="T24" fmla="*/ 1041 w 2618"/>
                  <a:gd name="T25" fmla="*/ 15 h 1445"/>
                  <a:gd name="T26" fmla="*/ 1130 w 2618"/>
                  <a:gd name="T27" fmla="*/ 8 h 1445"/>
                  <a:gd name="T28" fmla="*/ 1220 w 2618"/>
                  <a:gd name="T29" fmla="*/ 2 h 1445"/>
                  <a:gd name="T30" fmla="*/ 1309 w 2618"/>
                  <a:gd name="T31" fmla="*/ 0 h 1445"/>
                  <a:gd name="T32" fmla="*/ 1400 w 2618"/>
                  <a:gd name="T33" fmla="*/ 2 h 1445"/>
                  <a:gd name="T34" fmla="*/ 1490 w 2618"/>
                  <a:gd name="T35" fmla="*/ 8 h 1445"/>
                  <a:gd name="T36" fmla="*/ 1622 w 2618"/>
                  <a:gd name="T37" fmla="*/ 21 h 1445"/>
                  <a:gd name="T38" fmla="*/ 1688 w 2618"/>
                  <a:gd name="T39" fmla="*/ 31 h 1445"/>
                  <a:gd name="T40" fmla="*/ 1752 w 2618"/>
                  <a:gd name="T41" fmla="*/ 43 h 1445"/>
                  <a:gd name="T42" fmla="*/ 1838 w 2618"/>
                  <a:gd name="T43" fmla="*/ 62 h 1445"/>
                  <a:gd name="T44" fmla="*/ 1924 w 2618"/>
                  <a:gd name="T45" fmla="*/ 84 h 1445"/>
                  <a:gd name="T46" fmla="*/ 2007 w 2618"/>
                  <a:gd name="T47" fmla="*/ 107 h 1445"/>
                  <a:gd name="T48" fmla="*/ 2169 w 2618"/>
                  <a:gd name="T49" fmla="*/ 165 h 1445"/>
                  <a:gd name="T50" fmla="*/ 2248 w 2618"/>
                  <a:gd name="T51" fmla="*/ 198 h 1445"/>
                  <a:gd name="T52" fmla="*/ 2324 w 2618"/>
                  <a:gd name="T53" fmla="*/ 233 h 1445"/>
                  <a:gd name="T54" fmla="*/ 2400 w 2618"/>
                  <a:gd name="T55" fmla="*/ 272 h 1445"/>
                  <a:gd name="T56" fmla="*/ 2476 w 2618"/>
                  <a:gd name="T57" fmla="*/ 313 h 1445"/>
                  <a:gd name="T58" fmla="*/ 2548 w 2618"/>
                  <a:gd name="T59" fmla="*/ 358 h 1445"/>
                  <a:gd name="T60" fmla="*/ 2618 w 2618"/>
                  <a:gd name="T61" fmla="*/ 404 h 1445"/>
                  <a:gd name="T62" fmla="*/ 1832 w 2618"/>
                  <a:gd name="T63" fmla="*/ 1427 h 1445"/>
                  <a:gd name="T64" fmla="*/ 1768 w 2618"/>
                  <a:gd name="T65" fmla="*/ 1394 h 1445"/>
                  <a:gd name="T66" fmla="*/ 1704 w 2618"/>
                  <a:gd name="T67" fmla="*/ 1365 h 1445"/>
                  <a:gd name="T68" fmla="*/ 1636 w 2618"/>
                  <a:gd name="T69" fmla="*/ 1340 h 1445"/>
                  <a:gd name="T70" fmla="*/ 1568 w 2618"/>
                  <a:gd name="T71" fmla="*/ 1318 h 1445"/>
                  <a:gd name="T72" fmla="*/ 1496 w 2618"/>
                  <a:gd name="T73" fmla="*/ 1303 h 1445"/>
                  <a:gd name="T74" fmla="*/ 1422 w 2618"/>
                  <a:gd name="T75" fmla="*/ 1293 h 1445"/>
                  <a:gd name="T76" fmla="*/ 1348 w 2618"/>
                  <a:gd name="T77" fmla="*/ 1287 h 1445"/>
                  <a:gd name="T78" fmla="*/ 1272 w 2618"/>
                  <a:gd name="T79" fmla="*/ 1287 h 1445"/>
                  <a:gd name="T80" fmla="*/ 1196 w 2618"/>
                  <a:gd name="T81" fmla="*/ 1293 h 1445"/>
                  <a:gd name="T82" fmla="*/ 1124 w 2618"/>
                  <a:gd name="T83" fmla="*/ 1303 h 1445"/>
                  <a:gd name="T84" fmla="*/ 1052 w 2618"/>
                  <a:gd name="T85" fmla="*/ 1318 h 1445"/>
                  <a:gd name="T86" fmla="*/ 982 w 2618"/>
                  <a:gd name="T87" fmla="*/ 1340 h 1445"/>
                  <a:gd name="T88" fmla="*/ 916 w 2618"/>
                  <a:gd name="T89" fmla="*/ 1365 h 1445"/>
                  <a:gd name="T90" fmla="*/ 850 w 2618"/>
                  <a:gd name="T91" fmla="*/ 1394 h 1445"/>
                  <a:gd name="T92" fmla="*/ 788 w 2618"/>
                  <a:gd name="T93" fmla="*/ 1427 h 1445"/>
                  <a:gd name="T94" fmla="*/ 0 w 2618"/>
                  <a:gd name="T95" fmla="*/ 404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18" h="1445">
                    <a:moveTo>
                      <a:pt x="0" y="404"/>
                    </a:moveTo>
                    <a:lnTo>
                      <a:pt x="35" y="381"/>
                    </a:lnTo>
                    <a:lnTo>
                      <a:pt x="72" y="358"/>
                    </a:lnTo>
                    <a:lnTo>
                      <a:pt x="107" y="334"/>
                    </a:lnTo>
                    <a:lnTo>
                      <a:pt x="144" y="313"/>
                    </a:lnTo>
                    <a:lnTo>
                      <a:pt x="181" y="294"/>
                    </a:lnTo>
                    <a:lnTo>
                      <a:pt x="218" y="272"/>
                    </a:lnTo>
                    <a:lnTo>
                      <a:pt x="294" y="233"/>
                    </a:lnTo>
                    <a:lnTo>
                      <a:pt x="333" y="216"/>
                    </a:lnTo>
                    <a:lnTo>
                      <a:pt x="372" y="198"/>
                    </a:lnTo>
                    <a:lnTo>
                      <a:pt x="411" y="181"/>
                    </a:lnTo>
                    <a:lnTo>
                      <a:pt x="451" y="165"/>
                    </a:lnTo>
                    <a:lnTo>
                      <a:pt x="490" y="150"/>
                    </a:lnTo>
                    <a:lnTo>
                      <a:pt x="531" y="134"/>
                    </a:lnTo>
                    <a:lnTo>
                      <a:pt x="572" y="120"/>
                    </a:lnTo>
                    <a:lnTo>
                      <a:pt x="613" y="107"/>
                    </a:lnTo>
                    <a:lnTo>
                      <a:pt x="654" y="95"/>
                    </a:lnTo>
                    <a:lnTo>
                      <a:pt x="696" y="84"/>
                    </a:lnTo>
                    <a:lnTo>
                      <a:pt x="737" y="72"/>
                    </a:lnTo>
                    <a:lnTo>
                      <a:pt x="780" y="62"/>
                    </a:lnTo>
                    <a:lnTo>
                      <a:pt x="823" y="52"/>
                    </a:lnTo>
                    <a:lnTo>
                      <a:pt x="866" y="43"/>
                    </a:lnTo>
                    <a:lnTo>
                      <a:pt x="908" y="35"/>
                    </a:lnTo>
                    <a:lnTo>
                      <a:pt x="953" y="27"/>
                    </a:lnTo>
                    <a:lnTo>
                      <a:pt x="996" y="21"/>
                    </a:lnTo>
                    <a:lnTo>
                      <a:pt x="1041" y="15"/>
                    </a:lnTo>
                    <a:lnTo>
                      <a:pt x="1085" y="12"/>
                    </a:lnTo>
                    <a:lnTo>
                      <a:pt x="1130" y="8"/>
                    </a:lnTo>
                    <a:lnTo>
                      <a:pt x="1175" y="4"/>
                    </a:lnTo>
                    <a:lnTo>
                      <a:pt x="1220" y="2"/>
                    </a:lnTo>
                    <a:lnTo>
                      <a:pt x="1264" y="2"/>
                    </a:lnTo>
                    <a:lnTo>
                      <a:pt x="1309" y="0"/>
                    </a:lnTo>
                    <a:lnTo>
                      <a:pt x="1356" y="2"/>
                    </a:lnTo>
                    <a:lnTo>
                      <a:pt x="1400" y="2"/>
                    </a:lnTo>
                    <a:lnTo>
                      <a:pt x="1445" y="4"/>
                    </a:lnTo>
                    <a:lnTo>
                      <a:pt x="1490" y="8"/>
                    </a:lnTo>
                    <a:lnTo>
                      <a:pt x="1579" y="15"/>
                    </a:lnTo>
                    <a:lnTo>
                      <a:pt x="1622" y="21"/>
                    </a:lnTo>
                    <a:lnTo>
                      <a:pt x="1667" y="27"/>
                    </a:lnTo>
                    <a:lnTo>
                      <a:pt x="1688" y="31"/>
                    </a:lnTo>
                    <a:lnTo>
                      <a:pt x="1710" y="35"/>
                    </a:lnTo>
                    <a:lnTo>
                      <a:pt x="1752" y="43"/>
                    </a:lnTo>
                    <a:lnTo>
                      <a:pt x="1795" y="52"/>
                    </a:lnTo>
                    <a:lnTo>
                      <a:pt x="1838" y="62"/>
                    </a:lnTo>
                    <a:lnTo>
                      <a:pt x="1881" y="72"/>
                    </a:lnTo>
                    <a:lnTo>
                      <a:pt x="1924" y="84"/>
                    </a:lnTo>
                    <a:lnTo>
                      <a:pt x="1964" y="95"/>
                    </a:lnTo>
                    <a:lnTo>
                      <a:pt x="2007" y="107"/>
                    </a:lnTo>
                    <a:lnTo>
                      <a:pt x="2089" y="134"/>
                    </a:lnTo>
                    <a:lnTo>
                      <a:pt x="2169" y="165"/>
                    </a:lnTo>
                    <a:lnTo>
                      <a:pt x="2208" y="181"/>
                    </a:lnTo>
                    <a:lnTo>
                      <a:pt x="2248" y="198"/>
                    </a:lnTo>
                    <a:lnTo>
                      <a:pt x="2287" y="216"/>
                    </a:lnTo>
                    <a:lnTo>
                      <a:pt x="2324" y="233"/>
                    </a:lnTo>
                    <a:lnTo>
                      <a:pt x="2363" y="253"/>
                    </a:lnTo>
                    <a:lnTo>
                      <a:pt x="2400" y="272"/>
                    </a:lnTo>
                    <a:lnTo>
                      <a:pt x="2439" y="294"/>
                    </a:lnTo>
                    <a:lnTo>
                      <a:pt x="2476" y="313"/>
                    </a:lnTo>
                    <a:lnTo>
                      <a:pt x="2511" y="334"/>
                    </a:lnTo>
                    <a:lnTo>
                      <a:pt x="2548" y="358"/>
                    </a:lnTo>
                    <a:lnTo>
                      <a:pt x="2583" y="381"/>
                    </a:lnTo>
                    <a:lnTo>
                      <a:pt x="2618" y="404"/>
                    </a:lnTo>
                    <a:lnTo>
                      <a:pt x="1861" y="1445"/>
                    </a:lnTo>
                    <a:lnTo>
                      <a:pt x="1832" y="1427"/>
                    </a:lnTo>
                    <a:lnTo>
                      <a:pt x="1801" y="1410"/>
                    </a:lnTo>
                    <a:lnTo>
                      <a:pt x="1768" y="1394"/>
                    </a:lnTo>
                    <a:lnTo>
                      <a:pt x="1737" y="1379"/>
                    </a:lnTo>
                    <a:lnTo>
                      <a:pt x="1704" y="1365"/>
                    </a:lnTo>
                    <a:lnTo>
                      <a:pt x="1671" y="1352"/>
                    </a:lnTo>
                    <a:lnTo>
                      <a:pt x="1636" y="1340"/>
                    </a:lnTo>
                    <a:lnTo>
                      <a:pt x="1603" y="1328"/>
                    </a:lnTo>
                    <a:lnTo>
                      <a:pt x="1568" y="1318"/>
                    </a:lnTo>
                    <a:lnTo>
                      <a:pt x="1531" y="1311"/>
                    </a:lnTo>
                    <a:lnTo>
                      <a:pt x="1496" y="1303"/>
                    </a:lnTo>
                    <a:lnTo>
                      <a:pt x="1459" y="1297"/>
                    </a:lnTo>
                    <a:lnTo>
                      <a:pt x="1422" y="1293"/>
                    </a:lnTo>
                    <a:lnTo>
                      <a:pt x="1385" y="1289"/>
                    </a:lnTo>
                    <a:lnTo>
                      <a:pt x="1348" y="1287"/>
                    </a:lnTo>
                    <a:lnTo>
                      <a:pt x="1309" y="1287"/>
                    </a:lnTo>
                    <a:lnTo>
                      <a:pt x="1272" y="1287"/>
                    </a:lnTo>
                    <a:lnTo>
                      <a:pt x="1233" y="1289"/>
                    </a:lnTo>
                    <a:lnTo>
                      <a:pt x="1196" y="1293"/>
                    </a:lnTo>
                    <a:lnTo>
                      <a:pt x="1159" y="1297"/>
                    </a:lnTo>
                    <a:lnTo>
                      <a:pt x="1124" y="1303"/>
                    </a:lnTo>
                    <a:lnTo>
                      <a:pt x="1087" y="1311"/>
                    </a:lnTo>
                    <a:lnTo>
                      <a:pt x="1052" y="1318"/>
                    </a:lnTo>
                    <a:lnTo>
                      <a:pt x="1017" y="1328"/>
                    </a:lnTo>
                    <a:lnTo>
                      <a:pt x="982" y="1340"/>
                    </a:lnTo>
                    <a:lnTo>
                      <a:pt x="949" y="1352"/>
                    </a:lnTo>
                    <a:lnTo>
                      <a:pt x="916" y="1365"/>
                    </a:lnTo>
                    <a:lnTo>
                      <a:pt x="883" y="1379"/>
                    </a:lnTo>
                    <a:lnTo>
                      <a:pt x="850" y="1394"/>
                    </a:lnTo>
                    <a:lnTo>
                      <a:pt x="819" y="1410"/>
                    </a:lnTo>
                    <a:lnTo>
                      <a:pt x="788" y="1427"/>
                    </a:lnTo>
                    <a:lnTo>
                      <a:pt x="757" y="1445"/>
                    </a:lnTo>
                    <a:lnTo>
                      <a:pt x="0" y="404"/>
                    </a:lnTo>
                    <a:close/>
                  </a:path>
                </a:pathLst>
              </a:custGeom>
              <a:solidFill>
                <a:srgbClr val="FFE600"/>
              </a:solid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lgn="ctr"/>
                <a:endParaRPr lang="en-IN" dirty="0"/>
              </a:p>
            </p:txBody>
          </p:sp>
          <p:sp>
            <p:nvSpPr>
              <p:cNvPr id="42" name="Freeform 11">
                <a:extLst>
                  <a:ext uri="{FF2B5EF4-FFF2-40B4-BE49-F238E27FC236}">
                    <a16:creationId xmlns:a16="http://schemas.microsoft.com/office/drawing/2014/main" id="{45F54776-A445-BEBF-E6D3-35956CEEA40B}"/>
                  </a:ext>
                </a:extLst>
              </p:cNvPr>
              <p:cNvSpPr>
                <a:spLocks/>
              </p:cNvSpPr>
              <p:nvPr/>
            </p:nvSpPr>
            <p:spPr bwMode="auto">
              <a:xfrm>
                <a:off x="1416050" y="2214563"/>
                <a:ext cx="1316038" cy="1978025"/>
              </a:xfrm>
              <a:custGeom>
                <a:avLst/>
                <a:gdLst>
                  <a:gd name="T0" fmla="*/ 2 w 1659"/>
                  <a:gd name="T1" fmla="*/ 1770 h 2491"/>
                  <a:gd name="T2" fmla="*/ 10 w 1659"/>
                  <a:gd name="T3" fmla="*/ 1632 h 2491"/>
                  <a:gd name="T4" fmla="*/ 16 w 1659"/>
                  <a:gd name="T5" fmla="*/ 1562 h 2491"/>
                  <a:gd name="T6" fmla="*/ 31 w 1659"/>
                  <a:gd name="T7" fmla="*/ 1461 h 2491"/>
                  <a:gd name="T8" fmla="*/ 49 w 1659"/>
                  <a:gd name="T9" fmla="*/ 1361 h 2491"/>
                  <a:gd name="T10" fmla="*/ 80 w 1659"/>
                  <a:gd name="T11" fmla="*/ 1231 h 2491"/>
                  <a:gd name="T12" fmla="*/ 119 w 1659"/>
                  <a:gd name="T13" fmla="*/ 1103 h 2491"/>
                  <a:gd name="T14" fmla="*/ 165 w 1659"/>
                  <a:gd name="T15" fmla="*/ 978 h 2491"/>
                  <a:gd name="T16" fmla="*/ 216 w 1659"/>
                  <a:gd name="T17" fmla="*/ 858 h 2491"/>
                  <a:gd name="T18" fmla="*/ 276 w 1659"/>
                  <a:gd name="T19" fmla="*/ 741 h 2491"/>
                  <a:gd name="T20" fmla="*/ 340 w 1659"/>
                  <a:gd name="T21" fmla="*/ 626 h 2491"/>
                  <a:gd name="T22" fmla="*/ 393 w 1659"/>
                  <a:gd name="T23" fmla="*/ 545 h 2491"/>
                  <a:gd name="T24" fmla="*/ 430 w 1659"/>
                  <a:gd name="T25" fmla="*/ 490 h 2491"/>
                  <a:gd name="T26" fmla="*/ 469 w 1659"/>
                  <a:gd name="T27" fmla="*/ 438 h 2491"/>
                  <a:gd name="T28" fmla="*/ 510 w 1659"/>
                  <a:gd name="T29" fmla="*/ 387 h 2491"/>
                  <a:gd name="T30" fmla="*/ 572 w 1659"/>
                  <a:gd name="T31" fmla="*/ 313 h 2491"/>
                  <a:gd name="T32" fmla="*/ 659 w 1659"/>
                  <a:gd name="T33" fmla="*/ 216 h 2491"/>
                  <a:gd name="T34" fmla="*/ 753 w 1659"/>
                  <a:gd name="T35" fmla="*/ 127 h 2491"/>
                  <a:gd name="T36" fmla="*/ 852 w 1659"/>
                  <a:gd name="T37" fmla="*/ 41 h 2491"/>
                  <a:gd name="T38" fmla="*/ 902 w 1659"/>
                  <a:gd name="T39" fmla="*/ 0 h 2491"/>
                  <a:gd name="T40" fmla="*/ 1638 w 1659"/>
                  <a:gd name="T41" fmla="*/ 1060 h 2491"/>
                  <a:gd name="T42" fmla="*/ 1577 w 1659"/>
                  <a:gd name="T43" fmla="*/ 1118 h 2491"/>
                  <a:gd name="T44" fmla="*/ 1505 w 1659"/>
                  <a:gd name="T45" fmla="*/ 1202 h 2491"/>
                  <a:gd name="T46" fmla="*/ 1457 w 1659"/>
                  <a:gd name="T47" fmla="*/ 1270 h 2491"/>
                  <a:gd name="T48" fmla="*/ 1414 w 1659"/>
                  <a:gd name="T49" fmla="*/ 1342 h 2491"/>
                  <a:gd name="T50" fmla="*/ 1375 w 1659"/>
                  <a:gd name="T51" fmla="*/ 1418 h 2491"/>
                  <a:gd name="T52" fmla="*/ 1354 w 1659"/>
                  <a:gd name="T53" fmla="*/ 1470 h 2491"/>
                  <a:gd name="T54" fmla="*/ 1336 w 1659"/>
                  <a:gd name="T55" fmla="*/ 1523 h 2491"/>
                  <a:gd name="T56" fmla="*/ 1313 w 1659"/>
                  <a:gd name="T57" fmla="*/ 1607 h 2491"/>
                  <a:gd name="T58" fmla="*/ 1301 w 1659"/>
                  <a:gd name="T59" fmla="*/ 1663 h 2491"/>
                  <a:gd name="T60" fmla="*/ 1293 w 1659"/>
                  <a:gd name="T61" fmla="*/ 1721 h 2491"/>
                  <a:gd name="T62" fmla="*/ 1287 w 1659"/>
                  <a:gd name="T63" fmla="*/ 1780 h 2491"/>
                  <a:gd name="T64" fmla="*/ 1286 w 1659"/>
                  <a:gd name="T65" fmla="*/ 1840 h 2491"/>
                  <a:gd name="T66" fmla="*/ 1289 w 1659"/>
                  <a:gd name="T67" fmla="*/ 1904 h 2491"/>
                  <a:gd name="T68" fmla="*/ 1299 w 1659"/>
                  <a:gd name="T69" fmla="*/ 1999 h 2491"/>
                  <a:gd name="T70" fmla="*/ 1311 w 1659"/>
                  <a:gd name="T71" fmla="*/ 2062 h 2491"/>
                  <a:gd name="T72" fmla="*/ 93 w 1659"/>
                  <a:gd name="T73" fmla="*/ 2491 h 2491"/>
                  <a:gd name="T74" fmla="*/ 62 w 1659"/>
                  <a:gd name="T75" fmla="*/ 2373 h 2491"/>
                  <a:gd name="T76" fmla="*/ 53 w 1659"/>
                  <a:gd name="T77" fmla="*/ 2334 h 2491"/>
                  <a:gd name="T78" fmla="*/ 29 w 1659"/>
                  <a:gd name="T79" fmla="*/ 2213 h 2491"/>
                  <a:gd name="T80" fmla="*/ 18 w 1659"/>
                  <a:gd name="T81" fmla="*/ 2132 h 2491"/>
                  <a:gd name="T82" fmla="*/ 10 w 1659"/>
                  <a:gd name="T83" fmla="*/ 2048 h 2491"/>
                  <a:gd name="T84" fmla="*/ 2 w 1659"/>
                  <a:gd name="T85" fmla="*/ 1924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9" h="2491">
                    <a:moveTo>
                      <a:pt x="0" y="1840"/>
                    </a:moveTo>
                    <a:lnTo>
                      <a:pt x="2" y="1770"/>
                    </a:lnTo>
                    <a:lnTo>
                      <a:pt x="4" y="1700"/>
                    </a:lnTo>
                    <a:lnTo>
                      <a:pt x="10" y="1632"/>
                    </a:lnTo>
                    <a:lnTo>
                      <a:pt x="14" y="1597"/>
                    </a:lnTo>
                    <a:lnTo>
                      <a:pt x="16" y="1562"/>
                    </a:lnTo>
                    <a:lnTo>
                      <a:pt x="25" y="1496"/>
                    </a:lnTo>
                    <a:lnTo>
                      <a:pt x="31" y="1461"/>
                    </a:lnTo>
                    <a:lnTo>
                      <a:pt x="37" y="1428"/>
                    </a:lnTo>
                    <a:lnTo>
                      <a:pt x="49" y="1361"/>
                    </a:lnTo>
                    <a:lnTo>
                      <a:pt x="64" y="1295"/>
                    </a:lnTo>
                    <a:lnTo>
                      <a:pt x="80" y="1231"/>
                    </a:lnTo>
                    <a:lnTo>
                      <a:pt x="99" y="1167"/>
                    </a:lnTo>
                    <a:lnTo>
                      <a:pt x="119" y="1103"/>
                    </a:lnTo>
                    <a:lnTo>
                      <a:pt x="140" y="1041"/>
                    </a:lnTo>
                    <a:lnTo>
                      <a:pt x="165" y="978"/>
                    </a:lnTo>
                    <a:lnTo>
                      <a:pt x="191" y="918"/>
                    </a:lnTo>
                    <a:lnTo>
                      <a:pt x="216" y="858"/>
                    </a:lnTo>
                    <a:lnTo>
                      <a:pt x="245" y="799"/>
                    </a:lnTo>
                    <a:lnTo>
                      <a:pt x="276" y="741"/>
                    </a:lnTo>
                    <a:lnTo>
                      <a:pt x="307" y="683"/>
                    </a:lnTo>
                    <a:lnTo>
                      <a:pt x="340" y="626"/>
                    </a:lnTo>
                    <a:lnTo>
                      <a:pt x="375" y="572"/>
                    </a:lnTo>
                    <a:lnTo>
                      <a:pt x="393" y="545"/>
                    </a:lnTo>
                    <a:lnTo>
                      <a:pt x="412" y="517"/>
                    </a:lnTo>
                    <a:lnTo>
                      <a:pt x="430" y="490"/>
                    </a:lnTo>
                    <a:lnTo>
                      <a:pt x="449" y="465"/>
                    </a:lnTo>
                    <a:lnTo>
                      <a:pt x="469" y="438"/>
                    </a:lnTo>
                    <a:lnTo>
                      <a:pt x="488" y="412"/>
                    </a:lnTo>
                    <a:lnTo>
                      <a:pt x="510" y="387"/>
                    </a:lnTo>
                    <a:lnTo>
                      <a:pt x="529" y="362"/>
                    </a:lnTo>
                    <a:lnTo>
                      <a:pt x="572" y="313"/>
                    </a:lnTo>
                    <a:lnTo>
                      <a:pt x="615" y="265"/>
                    </a:lnTo>
                    <a:lnTo>
                      <a:pt x="659" y="216"/>
                    </a:lnTo>
                    <a:lnTo>
                      <a:pt x="706" y="171"/>
                    </a:lnTo>
                    <a:lnTo>
                      <a:pt x="753" y="127"/>
                    </a:lnTo>
                    <a:lnTo>
                      <a:pt x="801" y="84"/>
                    </a:lnTo>
                    <a:lnTo>
                      <a:pt x="852" y="41"/>
                    </a:lnTo>
                    <a:lnTo>
                      <a:pt x="877" y="21"/>
                    </a:lnTo>
                    <a:lnTo>
                      <a:pt x="902" y="0"/>
                    </a:lnTo>
                    <a:lnTo>
                      <a:pt x="1659" y="1043"/>
                    </a:lnTo>
                    <a:lnTo>
                      <a:pt x="1638" y="1060"/>
                    </a:lnTo>
                    <a:lnTo>
                      <a:pt x="1618" y="1079"/>
                    </a:lnTo>
                    <a:lnTo>
                      <a:pt x="1577" y="1118"/>
                    </a:lnTo>
                    <a:lnTo>
                      <a:pt x="1540" y="1159"/>
                    </a:lnTo>
                    <a:lnTo>
                      <a:pt x="1505" y="1202"/>
                    </a:lnTo>
                    <a:lnTo>
                      <a:pt x="1472" y="1247"/>
                    </a:lnTo>
                    <a:lnTo>
                      <a:pt x="1457" y="1270"/>
                    </a:lnTo>
                    <a:lnTo>
                      <a:pt x="1441" y="1293"/>
                    </a:lnTo>
                    <a:lnTo>
                      <a:pt x="1414" y="1342"/>
                    </a:lnTo>
                    <a:lnTo>
                      <a:pt x="1387" y="1393"/>
                    </a:lnTo>
                    <a:lnTo>
                      <a:pt x="1375" y="1418"/>
                    </a:lnTo>
                    <a:lnTo>
                      <a:pt x="1365" y="1443"/>
                    </a:lnTo>
                    <a:lnTo>
                      <a:pt x="1354" y="1470"/>
                    </a:lnTo>
                    <a:lnTo>
                      <a:pt x="1344" y="1496"/>
                    </a:lnTo>
                    <a:lnTo>
                      <a:pt x="1336" y="1523"/>
                    </a:lnTo>
                    <a:lnTo>
                      <a:pt x="1326" y="1550"/>
                    </a:lnTo>
                    <a:lnTo>
                      <a:pt x="1313" y="1607"/>
                    </a:lnTo>
                    <a:lnTo>
                      <a:pt x="1307" y="1634"/>
                    </a:lnTo>
                    <a:lnTo>
                      <a:pt x="1301" y="1663"/>
                    </a:lnTo>
                    <a:lnTo>
                      <a:pt x="1297" y="1692"/>
                    </a:lnTo>
                    <a:lnTo>
                      <a:pt x="1293" y="1721"/>
                    </a:lnTo>
                    <a:lnTo>
                      <a:pt x="1289" y="1750"/>
                    </a:lnTo>
                    <a:lnTo>
                      <a:pt x="1287" y="1780"/>
                    </a:lnTo>
                    <a:lnTo>
                      <a:pt x="1287" y="1809"/>
                    </a:lnTo>
                    <a:lnTo>
                      <a:pt x="1286" y="1840"/>
                    </a:lnTo>
                    <a:lnTo>
                      <a:pt x="1287" y="1871"/>
                    </a:lnTo>
                    <a:lnTo>
                      <a:pt x="1289" y="1904"/>
                    </a:lnTo>
                    <a:lnTo>
                      <a:pt x="1295" y="1968"/>
                    </a:lnTo>
                    <a:lnTo>
                      <a:pt x="1299" y="1999"/>
                    </a:lnTo>
                    <a:lnTo>
                      <a:pt x="1305" y="2030"/>
                    </a:lnTo>
                    <a:lnTo>
                      <a:pt x="1311" y="2062"/>
                    </a:lnTo>
                    <a:lnTo>
                      <a:pt x="1319" y="2093"/>
                    </a:lnTo>
                    <a:lnTo>
                      <a:pt x="93" y="2491"/>
                    </a:lnTo>
                    <a:lnTo>
                      <a:pt x="72" y="2412"/>
                    </a:lnTo>
                    <a:lnTo>
                      <a:pt x="62" y="2373"/>
                    </a:lnTo>
                    <a:lnTo>
                      <a:pt x="56" y="2353"/>
                    </a:lnTo>
                    <a:lnTo>
                      <a:pt x="53" y="2334"/>
                    </a:lnTo>
                    <a:lnTo>
                      <a:pt x="37" y="2254"/>
                    </a:lnTo>
                    <a:lnTo>
                      <a:pt x="29" y="2213"/>
                    </a:lnTo>
                    <a:lnTo>
                      <a:pt x="23" y="2172"/>
                    </a:lnTo>
                    <a:lnTo>
                      <a:pt x="18" y="2132"/>
                    </a:lnTo>
                    <a:lnTo>
                      <a:pt x="14" y="2091"/>
                    </a:lnTo>
                    <a:lnTo>
                      <a:pt x="10" y="2048"/>
                    </a:lnTo>
                    <a:lnTo>
                      <a:pt x="6" y="2007"/>
                    </a:lnTo>
                    <a:lnTo>
                      <a:pt x="2" y="1924"/>
                    </a:lnTo>
                    <a:lnTo>
                      <a:pt x="0" y="1840"/>
                    </a:lnTo>
                    <a:close/>
                  </a:path>
                </a:pathLst>
              </a:custGeom>
              <a:solidFill>
                <a:srgbClr val="2E2E38"/>
              </a:solidFill>
              <a:ln>
                <a:solidFill>
                  <a:schemeClr val="bg1"/>
                </a:solidFill>
              </a:ln>
            </p:spPr>
            <p:txBody>
              <a:bodyPr vert="horz" wrap="square" lIns="91440" tIns="45720" rIns="91440" bIns="45720" numCol="1" anchor="t" anchorCtr="0" compatLnSpc="1">
                <a:prstTxWarp prst="textNoShape">
                  <a:avLst/>
                </a:prstTxWarp>
              </a:bodyPr>
              <a:lstStyle/>
              <a:p>
                <a:endParaRPr lang="en-IN" dirty="0"/>
              </a:p>
            </p:txBody>
          </p:sp>
        </p:grpSp>
        <p:sp>
          <p:nvSpPr>
            <p:cNvPr id="43" name="TextBox 42">
              <a:extLst>
                <a:ext uri="{FF2B5EF4-FFF2-40B4-BE49-F238E27FC236}">
                  <a16:creationId xmlns:a16="http://schemas.microsoft.com/office/drawing/2014/main" id="{F96BDAF4-15C8-063C-7148-3BBBF86E1A04}"/>
                </a:ext>
              </a:extLst>
            </p:cNvPr>
            <p:cNvSpPr txBox="1"/>
            <p:nvPr/>
          </p:nvSpPr>
          <p:spPr>
            <a:xfrm>
              <a:off x="1034086" y="3214109"/>
              <a:ext cx="1019074" cy="44285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dirty="0">
                  <a:solidFill>
                    <a:schemeClr val="bg1"/>
                  </a:solidFill>
                </a:rPr>
                <a:t>Alternative providers</a:t>
              </a:r>
            </a:p>
          </p:txBody>
        </p:sp>
        <p:sp>
          <p:nvSpPr>
            <p:cNvPr id="44" name="TextBox 43">
              <a:extLst>
                <a:ext uri="{FF2B5EF4-FFF2-40B4-BE49-F238E27FC236}">
                  <a16:creationId xmlns:a16="http://schemas.microsoft.com/office/drawing/2014/main" id="{FB71F8DC-73F9-C95E-CB2C-71AD04696AAC}"/>
                </a:ext>
              </a:extLst>
            </p:cNvPr>
            <p:cNvSpPr txBox="1"/>
            <p:nvPr/>
          </p:nvSpPr>
          <p:spPr>
            <a:xfrm>
              <a:off x="1635513" y="4633185"/>
              <a:ext cx="909177" cy="44285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dirty="0">
                  <a:solidFill>
                    <a:srgbClr val="2E2E38"/>
                  </a:solidFill>
                </a:rPr>
                <a:t>External lawyers</a:t>
              </a:r>
            </a:p>
          </p:txBody>
        </p:sp>
        <p:sp>
          <p:nvSpPr>
            <p:cNvPr id="45" name="TextBox 44">
              <a:extLst>
                <a:ext uri="{FF2B5EF4-FFF2-40B4-BE49-F238E27FC236}">
                  <a16:creationId xmlns:a16="http://schemas.microsoft.com/office/drawing/2014/main" id="{1130D5CC-25B3-91F4-386E-4859C11A79D1}"/>
                </a:ext>
              </a:extLst>
            </p:cNvPr>
            <p:cNvSpPr txBox="1"/>
            <p:nvPr/>
          </p:nvSpPr>
          <p:spPr>
            <a:xfrm>
              <a:off x="3129522" y="4633184"/>
              <a:ext cx="909177" cy="44285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dirty="0">
                  <a:solidFill>
                    <a:srgbClr val="2E2E38"/>
                  </a:solidFill>
                </a:rPr>
                <a:t>Center of excellence</a:t>
              </a:r>
            </a:p>
          </p:txBody>
        </p:sp>
        <p:sp>
          <p:nvSpPr>
            <p:cNvPr id="46" name="TextBox 45">
              <a:extLst>
                <a:ext uri="{FF2B5EF4-FFF2-40B4-BE49-F238E27FC236}">
                  <a16:creationId xmlns:a16="http://schemas.microsoft.com/office/drawing/2014/main" id="{09024936-299F-BF58-182D-46CE714E4C50}"/>
                </a:ext>
              </a:extLst>
            </p:cNvPr>
            <p:cNvSpPr txBox="1"/>
            <p:nvPr/>
          </p:nvSpPr>
          <p:spPr>
            <a:xfrm>
              <a:off x="3761596" y="3224632"/>
              <a:ext cx="655779" cy="42423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dirty="0">
                  <a:solidFill>
                    <a:schemeClr val="bg1"/>
                  </a:solidFill>
                </a:rPr>
                <a:t>Self-service</a:t>
              </a:r>
            </a:p>
          </p:txBody>
        </p:sp>
        <p:sp>
          <p:nvSpPr>
            <p:cNvPr id="47" name="TextBox 46">
              <a:extLst>
                <a:ext uri="{FF2B5EF4-FFF2-40B4-BE49-F238E27FC236}">
                  <a16:creationId xmlns:a16="http://schemas.microsoft.com/office/drawing/2014/main" id="{4FFD6E64-A698-2E27-5F91-197E377D5C03}"/>
                </a:ext>
              </a:extLst>
            </p:cNvPr>
            <p:cNvSpPr txBox="1"/>
            <p:nvPr/>
          </p:nvSpPr>
          <p:spPr>
            <a:xfrm>
              <a:off x="2322277" y="2256257"/>
              <a:ext cx="909177" cy="44285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400" dirty="0">
                  <a:solidFill>
                    <a:srgbClr val="2E2E38"/>
                  </a:solidFill>
                </a:rPr>
                <a:t>In-house counsel</a:t>
              </a:r>
            </a:p>
          </p:txBody>
        </p:sp>
        <p:grpSp>
          <p:nvGrpSpPr>
            <p:cNvPr id="53" name="Group 52">
              <a:extLst>
                <a:ext uri="{FF2B5EF4-FFF2-40B4-BE49-F238E27FC236}">
                  <a16:creationId xmlns:a16="http://schemas.microsoft.com/office/drawing/2014/main" id="{FB7B888E-B3ED-53B7-0E0A-466982BA7DE7}"/>
                </a:ext>
              </a:extLst>
            </p:cNvPr>
            <p:cNvGrpSpPr/>
            <p:nvPr/>
          </p:nvGrpSpPr>
          <p:grpSpPr>
            <a:xfrm>
              <a:off x="4226820" y="3869988"/>
              <a:ext cx="1019074" cy="1019074"/>
              <a:chOff x="4293978" y="3906150"/>
              <a:chExt cx="1019074" cy="1019074"/>
            </a:xfrm>
          </p:grpSpPr>
          <p:sp>
            <p:nvSpPr>
              <p:cNvPr id="54" name="Oval 53">
                <a:extLst>
                  <a:ext uri="{FF2B5EF4-FFF2-40B4-BE49-F238E27FC236}">
                    <a16:creationId xmlns:a16="http://schemas.microsoft.com/office/drawing/2014/main" id="{CCFFF17B-FC6B-5B14-F3D8-925C40D9DB04}"/>
                  </a:ext>
                </a:extLst>
              </p:cNvPr>
              <p:cNvSpPr/>
              <p:nvPr/>
            </p:nvSpPr>
            <p:spPr>
              <a:xfrm>
                <a:off x="4293978" y="3906150"/>
                <a:ext cx="1019074" cy="1019074"/>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5" name="TextBox 54">
                <a:extLst>
                  <a:ext uri="{FF2B5EF4-FFF2-40B4-BE49-F238E27FC236}">
                    <a16:creationId xmlns:a16="http://schemas.microsoft.com/office/drawing/2014/main" id="{5ACCD529-7E6E-2810-E41F-D996DC65D482}"/>
                  </a:ext>
                </a:extLst>
              </p:cNvPr>
              <p:cNvSpPr txBox="1"/>
              <p:nvPr/>
            </p:nvSpPr>
            <p:spPr>
              <a:xfrm>
                <a:off x="4353937" y="3938552"/>
                <a:ext cx="918289" cy="841248"/>
              </a:xfrm>
              <a:prstGeom prst="rect">
                <a:avLst/>
              </a:prstGeom>
              <a:noFill/>
            </p:spPr>
            <p:txBody>
              <a:bodyPr wrap="square" lIns="0" tIns="91440" rIns="0" bIns="0" rtlCol="0">
                <a:spAutoFit/>
              </a:bodyPr>
              <a:lstStyle/>
              <a:p>
                <a:pPr algn="ctr">
                  <a:lnSpc>
                    <a:spcPts val="1400"/>
                  </a:lnSpc>
                </a:pPr>
                <a:r>
                  <a:rPr lang="en-US" sz="1100" dirty="0"/>
                  <a:t>Supported internally or by external providers</a:t>
                </a:r>
                <a:endParaRPr lang="en-IN" sz="1100" dirty="0"/>
              </a:p>
            </p:txBody>
          </p:sp>
        </p:grpSp>
        <p:grpSp>
          <p:nvGrpSpPr>
            <p:cNvPr id="56" name="Group 55">
              <a:extLst>
                <a:ext uri="{FF2B5EF4-FFF2-40B4-BE49-F238E27FC236}">
                  <a16:creationId xmlns:a16="http://schemas.microsoft.com/office/drawing/2014/main" id="{B60B626F-D694-49CF-40A5-5D09120C4F0A}"/>
                </a:ext>
              </a:extLst>
            </p:cNvPr>
            <p:cNvGrpSpPr/>
            <p:nvPr/>
          </p:nvGrpSpPr>
          <p:grpSpPr>
            <a:xfrm>
              <a:off x="460475" y="3869071"/>
              <a:ext cx="1019074" cy="1019074"/>
              <a:chOff x="398310" y="3935813"/>
              <a:chExt cx="1019074" cy="1019074"/>
            </a:xfrm>
          </p:grpSpPr>
          <p:sp>
            <p:nvSpPr>
              <p:cNvPr id="57" name="Oval 56">
                <a:extLst>
                  <a:ext uri="{FF2B5EF4-FFF2-40B4-BE49-F238E27FC236}">
                    <a16:creationId xmlns:a16="http://schemas.microsoft.com/office/drawing/2014/main" id="{A9319191-4420-E346-6182-3C07B9EF59C8}"/>
                  </a:ext>
                </a:extLst>
              </p:cNvPr>
              <p:cNvSpPr/>
              <p:nvPr/>
            </p:nvSpPr>
            <p:spPr>
              <a:xfrm>
                <a:off x="398310" y="3935813"/>
                <a:ext cx="1019074" cy="1019074"/>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8" name="TextBox 57">
                <a:extLst>
                  <a:ext uri="{FF2B5EF4-FFF2-40B4-BE49-F238E27FC236}">
                    <a16:creationId xmlns:a16="http://schemas.microsoft.com/office/drawing/2014/main" id="{506B594B-D0F6-D0AF-5D48-4C17FDC30327}"/>
                  </a:ext>
                </a:extLst>
              </p:cNvPr>
              <p:cNvSpPr txBox="1"/>
              <p:nvPr/>
            </p:nvSpPr>
            <p:spPr>
              <a:xfrm>
                <a:off x="453259" y="4209131"/>
                <a:ext cx="909177" cy="497098"/>
              </a:xfrm>
              <a:prstGeom prst="rect">
                <a:avLst/>
              </a:prstGeom>
              <a:noFill/>
            </p:spPr>
            <p:txBody>
              <a:bodyPr wrap="square" lIns="0" tIns="91440" rIns="91440" bIns="91440" rtlCol="0">
                <a:spAutoFit/>
              </a:bodyPr>
              <a:lstStyle/>
              <a:p>
                <a:pPr algn="ctr">
                  <a:lnSpc>
                    <a:spcPct val="85000"/>
                  </a:lnSpc>
                  <a:spcAft>
                    <a:spcPts val="600"/>
                  </a:spcAft>
                  <a:buClr>
                    <a:schemeClr val="accent2"/>
                  </a:buClr>
                  <a:buSzPct val="70000"/>
                </a:pPr>
                <a:r>
                  <a:rPr lang="en-US" sz="1100" dirty="0"/>
                  <a:t>External providers</a:t>
                </a:r>
              </a:p>
            </p:txBody>
          </p:sp>
        </p:grpSp>
      </p:grpSp>
      <p:grpSp>
        <p:nvGrpSpPr>
          <p:cNvPr id="6" name="Group 5">
            <a:extLst>
              <a:ext uri="{FF2B5EF4-FFF2-40B4-BE49-F238E27FC236}">
                <a16:creationId xmlns:a16="http://schemas.microsoft.com/office/drawing/2014/main" id="{943F43F1-FE74-9F7A-43E3-58B7BD07B3CF}"/>
              </a:ext>
            </a:extLst>
          </p:cNvPr>
          <p:cNvGrpSpPr/>
          <p:nvPr/>
        </p:nvGrpSpPr>
        <p:grpSpPr>
          <a:xfrm>
            <a:off x="608203" y="1195254"/>
            <a:ext cx="10981944" cy="851260"/>
            <a:chOff x="608203" y="1195254"/>
            <a:chExt cx="10981944" cy="502920"/>
          </a:xfrm>
        </p:grpSpPr>
        <p:cxnSp>
          <p:nvCxnSpPr>
            <p:cNvPr id="8" name="Straight Connector 7">
              <a:extLst>
                <a:ext uri="{FF2B5EF4-FFF2-40B4-BE49-F238E27FC236}">
                  <a16:creationId xmlns:a16="http://schemas.microsoft.com/office/drawing/2014/main" id="{F405E7E2-1BAE-AD75-656B-6772376D2295}"/>
                </a:ext>
              </a:extLst>
            </p:cNvPr>
            <p:cNvCxnSpPr>
              <a:cxnSpLocks/>
            </p:cNvCxnSpPr>
            <p:nvPr/>
          </p:nvCxnSpPr>
          <p:spPr>
            <a:xfrm>
              <a:off x="608203" y="1446714"/>
              <a:ext cx="10981944" cy="0"/>
            </a:xfrm>
            <a:prstGeom prst="line">
              <a:avLst/>
            </a:prstGeom>
            <a:ln w="9525">
              <a:solidFill>
                <a:srgbClr val="C4C4CD"/>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95D399C-0B3C-4E63-E7FE-196EE577AAF5}"/>
                </a:ext>
              </a:extLst>
            </p:cNvPr>
            <p:cNvSpPr txBox="1"/>
            <p:nvPr/>
          </p:nvSpPr>
          <p:spPr>
            <a:xfrm>
              <a:off x="1465040" y="1195254"/>
              <a:ext cx="9268274" cy="50292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IN" sz="1600" b="1" dirty="0">
                  <a:solidFill>
                    <a:schemeClr val="tx1">
                      <a:lumMod val="100000"/>
                    </a:schemeClr>
                  </a:solidFill>
                </a:rPr>
                <a:t>Law departments can use a variety of sourcing strategies, each with its own strengths and weaknesses, and choosing the right strategy for each task is the key to optimization</a:t>
              </a:r>
            </a:p>
          </p:txBody>
        </p:sp>
      </p:grpSp>
    </p:spTree>
    <p:extLst>
      <p:ext uri="{BB962C8B-B14F-4D97-AF65-F5344CB8AC3E}">
        <p14:creationId xmlns:p14="http://schemas.microsoft.com/office/powerpoint/2010/main" val="14361309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3248FB-D965-4DBD-9A4E-ABB98B80320D}"/>
              </a:ext>
            </a:extLst>
          </p:cNvPr>
          <p:cNvSpPr/>
          <p:nvPr/>
        </p:nvSpPr>
        <p:spPr>
          <a:xfrm>
            <a:off x="612775" y="1143704"/>
            <a:ext cx="3460291" cy="2292935"/>
          </a:xfrm>
          <a:prstGeom prst="rect">
            <a:avLst/>
          </a:prstGeom>
          <a:noFill/>
          <a:ln w="25400" cap="flat" cmpd="sng" algn="ctr">
            <a:noFill/>
            <a:prstDash val="solid"/>
          </a:ln>
          <a:effectLst/>
        </p:spPr>
        <p:txBody>
          <a:bodyPr wrap="square" lIns="0" tIns="0" rIns="0" bIns="0" rtlCol="0" anchor="t">
            <a:spAutoFit/>
          </a:bodyPr>
          <a:lstStyle/>
          <a:p>
            <a:pPr>
              <a:spcAft>
                <a:spcPts val="600"/>
              </a:spcAft>
              <a:defRPr/>
            </a:pPr>
            <a:r>
              <a:rPr lang="en-IN" sz="1200" b="1" kern="0" dirty="0">
                <a:solidFill>
                  <a:srgbClr val="FFE600"/>
                </a:solidFill>
                <a:latin typeface="EYInterstate" panose="02000503020000020004" pitchFamily="2" charset="0"/>
                <a:cs typeface="Arial" panose="020B0604020202020204" pitchFamily="34" charset="0"/>
              </a:rPr>
              <a:t>EY  </a:t>
            </a:r>
            <a:r>
              <a:rPr lang="en-IN" sz="1200" kern="0" dirty="0">
                <a:solidFill>
                  <a:srgbClr val="FFE600"/>
                </a:solidFill>
                <a:latin typeface="EYInterstate" panose="02000503020000020004" pitchFamily="2" charset="0"/>
                <a:cs typeface="Arial" panose="020B0604020202020204" pitchFamily="34" charset="0"/>
              </a:rPr>
              <a:t>|  Building a better working world</a:t>
            </a:r>
          </a:p>
          <a:p>
            <a:pPr>
              <a:defRPr/>
            </a:pPr>
            <a:r>
              <a:rPr lang="en-IN" sz="1100" kern="0" dirty="0">
                <a:solidFill>
                  <a:srgbClr val="FFFFFF"/>
                </a:solidFill>
                <a:latin typeface="EYInterstate" panose="02000503020000020004" pitchFamily="2" charset="0"/>
                <a:cs typeface="Arial" panose="020B0604020202020204" pitchFamily="34" charset="0"/>
              </a:rPr>
              <a:t>EY exists to build a better working world, helping to create long-term value for clients, people and society and build trust in the capital markets.</a:t>
            </a:r>
          </a:p>
          <a:p>
            <a:pPr>
              <a:defRPr/>
            </a:pPr>
            <a:endParaRPr lang="en-IN" sz="1100" kern="0" dirty="0">
              <a:solidFill>
                <a:srgbClr val="FFFFFF"/>
              </a:solidFill>
              <a:latin typeface="EYInterstate" panose="02000503020000020004" pitchFamily="2" charset="0"/>
              <a:cs typeface="Arial" panose="020B0604020202020204" pitchFamily="34" charset="0"/>
            </a:endParaRPr>
          </a:p>
          <a:p>
            <a:pPr>
              <a:defRPr/>
            </a:pPr>
            <a:r>
              <a:rPr lang="en-IN" sz="1100" kern="0" dirty="0">
                <a:solidFill>
                  <a:srgbClr val="FFFFFF"/>
                </a:solidFill>
                <a:latin typeface="EYInterstate" panose="02000503020000020004" pitchFamily="2" charset="0"/>
                <a:cs typeface="Arial" panose="020B0604020202020204" pitchFamily="34" charset="0"/>
              </a:rPr>
              <a:t>Enabled by data and technology, diverse EY teams in over 150 countries provide trust through assurance and help clients grow, transform and operate.</a:t>
            </a:r>
          </a:p>
          <a:p>
            <a:pPr>
              <a:defRPr/>
            </a:pPr>
            <a:endParaRPr lang="en-IN" sz="1100" kern="0" dirty="0">
              <a:solidFill>
                <a:srgbClr val="FFFFFF"/>
              </a:solidFill>
              <a:latin typeface="EYInterstate" panose="02000503020000020004" pitchFamily="2" charset="0"/>
              <a:cs typeface="Arial" panose="020B0604020202020204" pitchFamily="34" charset="0"/>
            </a:endParaRPr>
          </a:p>
          <a:p>
            <a:pPr>
              <a:defRPr/>
            </a:pPr>
            <a:r>
              <a:rPr lang="en-IN" sz="1100" kern="0" dirty="0">
                <a:solidFill>
                  <a:srgbClr val="FFFFFF"/>
                </a:solidFill>
                <a:latin typeface="EYInterstate" panose="02000503020000020004" pitchFamily="2" charset="0"/>
                <a:cs typeface="Arial" panose="020B0604020202020204" pitchFamily="34" charset="0"/>
              </a:rPr>
              <a:t>Working across assurance, consulting, law, strategy, tax and transactions, EY teams ask better questions to find new answers for the complex issues facing our world today.</a:t>
            </a:r>
            <a:endParaRPr lang="en-US" sz="1100" kern="0" dirty="0">
              <a:solidFill>
                <a:srgbClr val="FFFFFF"/>
              </a:solidFill>
              <a:latin typeface="EYInterstate" panose="02000503020000020004" pitchFamily="2" charset="0"/>
              <a:cs typeface="Arial" panose="020B0604020202020204" pitchFamily="34" charset="0"/>
            </a:endParaRPr>
          </a:p>
        </p:txBody>
      </p:sp>
      <p:sp>
        <p:nvSpPr>
          <p:cNvPr id="6" name="Rectangle 5">
            <a:extLst>
              <a:ext uri="{FF2B5EF4-FFF2-40B4-BE49-F238E27FC236}">
                <a16:creationId xmlns:a16="http://schemas.microsoft.com/office/drawing/2014/main" id="{48CF8575-47B3-438D-89E8-417E7422520D}"/>
              </a:ext>
            </a:extLst>
          </p:cNvPr>
          <p:cNvSpPr/>
          <p:nvPr/>
        </p:nvSpPr>
        <p:spPr>
          <a:xfrm>
            <a:off x="8122109" y="1143704"/>
            <a:ext cx="3460291" cy="2677656"/>
          </a:xfrm>
          <a:prstGeom prst="rect">
            <a:avLst/>
          </a:prstGeom>
          <a:noFill/>
          <a:ln w="25400" cap="flat" cmpd="sng" algn="ctr">
            <a:noFill/>
            <a:prstDash val="solid"/>
          </a:ln>
          <a:effectLst/>
        </p:spPr>
        <p:txBody>
          <a:bodyPr wrap="square" lIns="0" tIns="0" rIns="0" bIns="0" rtlCol="0" anchor="t">
            <a:spAutoFit/>
          </a:bodyPr>
          <a:lstStyle/>
          <a:p>
            <a:pPr>
              <a:defRPr/>
            </a:pPr>
            <a:r>
              <a:rPr lang="en-IN" sz="800" kern="0" dirty="0">
                <a:solidFill>
                  <a:srgbClr val="FFFFFF"/>
                </a:solidFill>
                <a:cs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For more information about our organization, please visit ey.com.</a:t>
            </a:r>
          </a:p>
          <a:p>
            <a:pPr>
              <a:defRPr/>
            </a:pPr>
            <a:endParaRPr lang="en-US" sz="800" kern="0" dirty="0">
              <a:solidFill>
                <a:srgbClr val="FFFFFF"/>
              </a:solidFill>
              <a:cs typeface="Arial" panose="020B0604020202020204" pitchFamily="34" charset="0"/>
            </a:endParaRPr>
          </a:p>
          <a:p>
            <a:pPr>
              <a:defRPr/>
            </a:pPr>
            <a:r>
              <a:rPr lang="en-IN" sz="800" kern="0" dirty="0">
                <a:solidFill>
                  <a:srgbClr val="FFFFFF"/>
                </a:solidFill>
                <a:cs typeface="Arial" panose="020B0604020202020204" pitchFamily="34" charset="0"/>
              </a:rPr>
              <a:t>Ernst &amp; Young LLP is a client-serving member firm of Ernst &amp; Young Global Limited operating in the US.</a:t>
            </a:r>
            <a:endParaRPr lang="en-US" sz="800" kern="0" dirty="0">
              <a:solidFill>
                <a:srgbClr val="FFFFFF"/>
              </a:solidFill>
              <a:cs typeface="Arial" panose="020B0604020202020204" pitchFamily="34" charset="0"/>
            </a:endParaRPr>
          </a:p>
          <a:p>
            <a:pPr>
              <a:defRPr/>
            </a:pPr>
            <a:endParaRPr lang="en-US" sz="800" kern="0" dirty="0">
              <a:solidFill>
                <a:srgbClr val="FFFFFF"/>
              </a:solidFill>
              <a:cs typeface="Arial" panose="020B0604020202020204" pitchFamily="34" charset="0"/>
            </a:endParaRPr>
          </a:p>
          <a:p>
            <a:pPr>
              <a:defRPr/>
            </a:pPr>
            <a:r>
              <a:rPr lang="en-US" sz="800" kern="0" dirty="0">
                <a:solidFill>
                  <a:srgbClr val="FFFFFF"/>
                </a:solidFill>
                <a:cs typeface="Arial" panose="020B0604020202020204" pitchFamily="34" charset="0"/>
              </a:rPr>
              <a:t>© 2023 Ernst &amp; Young LLP.</a:t>
            </a:r>
          </a:p>
          <a:p>
            <a:pPr>
              <a:defRPr/>
            </a:pPr>
            <a:r>
              <a:rPr lang="en-US" sz="800" kern="0" dirty="0">
                <a:solidFill>
                  <a:srgbClr val="FFFFFF"/>
                </a:solidFill>
                <a:cs typeface="Arial" panose="020B0604020202020204" pitchFamily="34" charset="0"/>
              </a:rPr>
              <a:t>All Rights Reserved.</a:t>
            </a:r>
          </a:p>
          <a:p>
            <a:pPr>
              <a:defRPr/>
            </a:pPr>
            <a:endParaRPr lang="en-US" sz="800" kern="0" dirty="0">
              <a:solidFill>
                <a:srgbClr val="FFFFFF"/>
              </a:solidFill>
              <a:cs typeface="Arial" panose="020B0604020202020204" pitchFamily="34" charset="0"/>
            </a:endParaRPr>
          </a:p>
          <a:p>
            <a:pPr>
              <a:defRPr/>
            </a:pPr>
            <a:r>
              <a:rPr lang="en-US" sz="800" kern="0" dirty="0">
                <a:solidFill>
                  <a:srgbClr val="FFFFFF"/>
                </a:solidFill>
                <a:cs typeface="Arial" panose="020B0604020202020204" pitchFamily="34" charset="0"/>
              </a:rPr>
              <a:t>2308-4316462</a:t>
            </a:r>
          </a:p>
          <a:p>
            <a:pPr>
              <a:defRPr/>
            </a:pPr>
            <a:r>
              <a:rPr lang="en-US" sz="800" kern="0" dirty="0">
                <a:solidFill>
                  <a:srgbClr val="FFFFFF"/>
                </a:solidFill>
                <a:cs typeface="Arial" panose="020B0604020202020204" pitchFamily="34" charset="0"/>
              </a:rPr>
              <a:t>ED None</a:t>
            </a:r>
          </a:p>
          <a:p>
            <a:pPr>
              <a:defRPr/>
            </a:pPr>
            <a:endParaRPr lang="en-US" sz="800" kern="0" dirty="0">
              <a:solidFill>
                <a:srgbClr val="FFFFFF"/>
              </a:solidFill>
              <a:cs typeface="Arial" panose="020B0604020202020204" pitchFamily="34" charset="0"/>
            </a:endParaRPr>
          </a:p>
          <a:p>
            <a:pPr>
              <a:defRPr/>
            </a:pPr>
            <a:r>
              <a:rPr lang="en-IN" sz="700" kern="0" dirty="0">
                <a:solidFill>
                  <a:srgbClr val="FFFFFF"/>
                </a:solidFill>
                <a:cs typeface="Arial" panose="020B0604020202020204" pitchFamily="34" charset="0"/>
              </a:rPr>
              <a:t>This material has been prepared for general informational purposes only and is not intended to be relied upon as accounting, tax</a:t>
            </a:r>
            <a:r>
              <a:rPr lang="en-IN" sz="700" kern="0">
                <a:solidFill>
                  <a:srgbClr val="FFFFFF"/>
                </a:solidFill>
                <a:cs typeface="Arial" panose="020B0604020202020204" pitchFamily="34" charset="0"/>
              </a:rPr>
              <a:t>, legal </a:t>
            </a:r>
            <a:r>
              <a:rPr lang="en-IN" sz="700" kern="0" dirty="0">
                <a:solidFill>
                  <a:srgbClr val="FFFFFF"/>
                </a:solidFill>
                <a:cs typeface="Arial" panose="020B0604020202020204" pitchFamily="34" charset="0"/>
              </a:rPr>
              <a:t>or other professional advice. Please refer to your advisors for specific advice.</a:t>
            </a:r>
          </a:p>
          <a:p>
            <a:pPr>
              <a:defRPr/>
            </a:pPr>
            <a:endParaRPr lang="en-IN" sz="600" kern="0" dirty="0">
              <a:solidFill>
                <a:srgbClr val="FFFFFF"/>
              </a:solidFill>
              <a:cs typeface="Arial" panose="020B0604020202020204" pitchFamily="34" charset="0"/>
            </a:endParaRPr>
          </a:p>
          <a:p>
            <a:pPr>
              <a:defRPr/>
            </a:pPr>
            <a:r>
              <a:rPr lang="en-US" sz="1100" kern="0" dirty="0">
                <a:solidFill>
                  <a:srgbClr val="FFFFFF"/>
                </a:solidFill>
                <a:latin typeface="EYInterstate" panose="02000503020000020004" pitchFamily="2" charset="0"/>
                <a:cs typeface="Arial" panose="020B0604020202020204" pitchFamily="34" charset="0"/>
              </a:rPr>
              <a:t>ey.com</a:t>
            </a:r>
          </a:p>
        </p:txBody>
      </p:sp>
    </p:spTree>
    <p:extLst>
      <p:ext uri="{BB962C8B-B14F-4D97-AF65-F5344CB8AC3E}">
        <p14:creationId xmlns:p14="http://schemas.microsoft.com/office/powerpoint/2010/main" val="4095070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ECF22B-C14E-0B75-169C-3B124E2A4D66}"/>
              </a:ext>
            </a:extLst>
          </p:cNvPr>
          <p:cNvGraphicFramePr>
            <a:graphicFrameLocks noChangeAspect="1"/>
          </p:cNvGraphicFramePr>
          <p:nvPr>
            <p:custDataLst>
              <p:tags r:id="rId1"/>
            </p:custDataLst>
            <p:extLst>
              <p:ext uri="{D42A27DB-BD31-4B8C-83A1-F6EECF244321}">
                <p14:modId xmlns:p14="http://schemas.microsoft.com/office/powerpoint/2010/main" val="1068328497"/>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84ECF22B-C14E-0B75-169C-3B124E2A4D66}"/>
                          </a:ext>
                        </a:extLst>
                      </p:cNvPr>
                      <p:cNvPicPr/>
                      <p:nvPr/>
                    </p:nvPicPr>
                    <p:blipFill>
                      <a:blip r:embed="rId4"/>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1B44D3-F7FB-1DE6-1AA3-5D34A9AE0ED1}"/>
              </a:ext>
            </a:extLst>
          </p:cNvPr>
          <p:cNvSpPr>
            <a:spLocks noGrp="1"/>
          </p:cNvSpPr>
          <p:nvPr>
            <p:ph type="title"/>
          </p:nvPr>
        </p:nvSpPr>
        <p:spPr/>
        <p:txBody>
          <a:bodyPr/>
          <a:lstStyle/>
          <a:p>
            <a:r>
              <a:rPr lang="en-IN" dirty="0"/>
              <a:t>Disclaimer</a:t>
            </a:r>
            <a:endParaRPr lang="en-US" dirty="0"/>
          </a:p>
        </p:txBody>
      </p:sp>
      <p:sp>
        <p:nvSpPr>
          <p:cNvPr id="5" name="Text Placeholder 4">
            <a:extLst>
              <a:ext uri="{FF2B5EF4-FFF2-40B4-BE49-F238E27FC236}">
                <a16:creationId xmlns:a16="http://schemas.microsoft.com/office/drawing/2014/main" id="{C1966F92-9835-75C7-E54D-E29821E4DF92}"/>
              </a:ext>
            </a:extLst>
          </p:cNvPr>
          <p:cNvSpPr>
            <a:spLocks noGrp="1"/>
          </p:cNvSpPr>
          <p:nvPr>
            <p:ph type="body" sz="quarter" idx="11"/>
          </p:nvPr>
        </p:nvSpPr>
        <p:spPr/>
        <p:txBody>
          <a:bodyPr/>
          <a:lstStyle/>
          <a:p>
            <a:r>
              <a:rPr lang="en-US" sz="1600" dirty="0"/>
              <a:t>EY refers to the global organization, and may refer to one or more, of the member firms of Ernst &amp; Young Global Limited, each of which is a separate legal entity. Ernst &amp; Young LLP is a client-serving member firm of Ernst &amp; Young Global Limited operating in the US. </a:t>
            </a:r>
          </a:p>
          <a:p>
            <a:r>
              <a:rPr lang="en-IN" sz="1600" dirty="0"/>
              <a:t>This presentation is © 2023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Ernst &amp; Young LLP expressly disclaims any liability in connection with use of this presentation or its contents by any third party.</a:t>
            </a:r>
          </a:p>
          <a:p>
            <a:r>
              <a:rPr lang="en-IN" sz="1600" dirty="0"/>
              <a:t>Views expressed in this presentation are those of the speakers and do not necessarily represent the views of </a:t>
            </a:r>
            <a:br>
              <a:rPr lang="en-IN" sz="1600" dirty="0"/>
            </a:br>
            <a:r>
              <a:rPr lang="en-IN" sz="1600" dirty="0"/>
              <a:t>Ernst &amp; Young LLP. </a:t>
            </a:r>
          </a:p>
          <a:p>
            <a:r>
              <a:rPr lang="en-IN" sz="1600" dirty="0"/>
              <a:t>This presentation is provided solely for the purpose of enhancing knowledge on tax matters. It does not provide accounting, tax, or other professional advice because it does not take into account any specific taxpayer’s facts and circumstances.</a:t>
            </a:r>
          </a:p>
        </p:txBody>
      </p:sp>
    </p:spTree>
    <p:extLst>
      <p:ext uri="{BB962C8B-B14F-4D97-AF65-F5344CB8AC3E}">
        <p14:creationId xmlns:p14="http://schemas.microsoft.com/office/powerpoint/2010/main" val="1425751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ECF22B-C14E-0B75-169C-3B124E2A4D66}"/>
              </a:ext>
            </a:extLst>
          </p:cNvPr>
          <p:cNvGraphicFramePr>
            <a:graphicFrameLocks noChangeAspect="1"/>
          </p:cNvGraphicFramePr>
          <p:nvPr>
            <p:custDataLst>
              <p:tags r:id="rId1"/>
            </p:custDataLst>
            <p:extLst>
              <p:ext uri="{D42A27DB-BD31-4B8C-83A1-F6EECF244321}">
                <p14:modId xmlns:p14="http://schemas.microsoft.com/office/powerpoint/2010/main" val="3580718937"/>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7" name="Object 6" hidden="1">
                        <a:extLst>
                          <a:ext uri="{FF2B5EF4-FFF2-40B4-BE49-F238E27FC236}">
                            <a16:creationId xmlns:a16="http://schemas.microsoft.com/office/drawing/2014/main" id="{84ECF22B-C14E-0B75-169C-3B124E2A4D66}"/>
                          </a:ext>
                        </a:extLst>
                      </p:cNvPr>
                      <p:cNvPicPr/>
                      <p:nvPr/>
                    </p:nvPicPr>
                    <p:blipFill>
                      <a:blip r:embed="rId26"/>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1B44D3-F7FB-1DE6-1AA3-5D34A9AE0ED1}"/>
              </a:ext>
            </a:extLst>
          </p:cNvPr>
          <p:cNvSpPr>
            <a:spLocks noGrp="1"/>
          </p:cNvSpPr>
          <p:nvPr>
            <p:ph type="title"/>
          </p:nvPr>
        </p:nvSpPr>
        <p:spPr>
          <a:xfrm>
            <a:off x="609920" y="294200"/>
            <a:ext cx="10978515" cy="590400"/>
          </a:xfrm>
        </p:spPr>
        <p:txBody>
          <a:bodyPr/>
          <a:lstStyle/>
          <a:p>
            <a:r>
              <a:rPr lang="en-IN" dirty="0"/>
              <a:t>Technology continues to evolve — in 2023, the hot topic is generative AI</a:t>
            </a:r>
            <a:endParaRPr lang="en-US" dirty="0"/>
          </a:p>
        </p:txBody>
      </p:sp>
      <p:graphicFrame>
        <p:nvGraphicFramePr>
          <p:cNvPr id="213" name="Chart 212">
            <a:extLst>
              <a:ext uri="{FF2B5EF4-FFF2-40B4-BE49-F238E27FC236}">
                <a16:creationId xmlns:a16="http://schemas.microsoft.com/office/drawing/2014/main" id="{43ABD14B-687E-52FE-C34F-AD4BC7D8D73E}"/>
              </a:ext>
            </a:extLst>
          </p:cNvPr>
          <p:cNvGraphicFramePr/>
          <p:nvPr>
            <p:custDataLst>
              <p:tags r:id="rId2"/>
            </p:custDataLst>
            <p:extLst>
              <p:ext uri="{D42A27DB-BD31-4B8C-83A1-F6EECF244321}">
                <p14:modId xmlns:p14="http://schemas.microsoft.com/office/powerpoint/2010/main" val="1585398014"/>
              </p:ext>
            </p:extLst>
          </p:nvPr>
        </p:nvGraphicFramePr>
        <p:xfrm>
          <a:off x="2521819" y="1665288"/>
          <a:ext cx="6402041" cy="4271630"/>
        </p:xfrm>
        <a:graphic>
          <a:graphicData uri="http://schemas.openxmlformats.org/drawingml/2006/chart">
            <c:chart xmlns:c="http://schemas.openxmlformats.org/drawingml/2006/chart" xmlns:r="http://schemas.openxmlformats.org/officeDocument/2006/relationships" r:id="rId27"/>
          </a:graphicData>
        </a:graphic>
      </p:graphicFrame>
      <p:sp>
        <p:nvSpPr>
          <p:cNvPr id="14" name="Text Placeholder 2">
            <a:extLst>
              <a:ext uri="{FF2B5EF4-FFF2-40B4-BE49-F238E27FC236}">
                <a16:creationId xmlns:a16="http://schemas.microsoft.com/office/drawing/2014/main" id="{CA035F4A-8476-C146-9D34-311B6C14CAB8}"/>
              </a:ext>
            </a:extLst>
          </p:cNvPr>
          <p:cNvSpPr>
            <a:spLocks noGrp="1"/>
          </p:cNvSpPr>
          <p:nvPr>
            <p:custDataLst>
              <p:tags r:id="rId3"/>
            </p:custDataLst>
          </p:nvPr>
        </p:nvSpPr>
        <p:spPr bwMode="auto">
          <a:xfrm>
            <a:off x="609919" y="3012940"/>
            <a:ext cx="896938"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0BA12903-9FCA-4FD1-96D1-26B3AA6C0245}" type="datetime'''M''''an''''ag''''''''''''''''''''e''m''''''''''''''e''nt'''">
              <a:rPr lang="en-IN" altLang="en-US" sz="1000" smtClean="0">
                <a:latin typeface="+mn-lt"/>
              </a:rPr>
              <a:pPr marL="0" indent="0">
                <a:spcBef>
                  <a:spcPct val="0"/>
                </a:spcBef>
                <a:spcAft>
                  <a:spcPct val="0"/>
                </a:spcAft>
                <a:buNone/>
              </a:pPr>
              <a:t>Management</a:t>
            </a:fld>
            <a:endParaRPr lang="en-IN" sz="1000" dirty="0">
              <a:latin typeface="+mn-lt"/>
            </a:endParaRPr>
          </a:p>
        </p:txBody>
      </p:sp>
      <p:sp>
        <p:nvSpPr>
          <p:cNvPr id="15" name="Text Placeholder 2">
            <a:extLst>
              <a:ext uri="{FF2B5EF4-FFF2-40B4-BE49-F238E27FC236}">
                <a16:creationId xmlns:a16="http://schemas.microsoft.com/office/drawing/2014/main" id="{F77355AD-F856-7CB7-B677-BEDA29F18A51}"/>
              </a:ext>
            </a:extLst>
          </p:cNvPr>
          <p:cNvSpPr>
            <a:spLocks noGrp="1"/>
          </p:cNvSpPr>
          <p:nvPr>
            <p:custDataLst>
              <p:tags r:id="rId4"/>
            </p:custDataLst>
          </p:nvPr>
        </p:nvSpPr>
        <p:spPr bwMode="auto">
          <a:xfrm>
            <a:off x="609919" y="1961794"/>
            <a:ext cx="449263" cy="20256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2A8F66D2-9E2C-47E0-A136-7B1E5975410E}" type="datetime'''''''L''e''''''''''''''g''''''a''l'''''''">
              <a:rPr lang="en-IN" altLang="en-US" sz="1000" b="1" smtClean="0">
                <a:solidFill>
                  <a:schemeClr val="tx2"/>
                </a:solidFill>
                <a:latin typeface="+mn-lt"/>
              </a:rPr>
              <a:pPr marL="0" indent="0">
                <a:spcBef>
                  <a:spcPct val="0"/>
                </a:spcBef>
                <a:spcAft>
                  <a:spcPct val="0"/>
                </a:spcAft>
                <a:buNone/>
              </a:pPr>
              <a:t>Legal</a:t>
            </a:fld>
            <a:endParaRPr lang="en-IN" sz="1000" b="1" dirty="0">
              <a:solidFill>
                <a:schemeClr val="tx2"/>
              </a:solidFill>
              <a:latin typeface="+mn-lt"/>
            </a:endParaRPr>
          </a:p>
        </p:txBody>
      </p:sp>
      <p:sp>
        <p:nvSpPr>
          <p:cNvPr id="77" name="Text Placeholder 2">
            <a:extLst>
              <a:ext uri="{FF2B5EF4-FFF2-40B4-BE49-F238E27FC236}">
                <a16:creationId xmlns:a16="http://schemas.microsoft.com/office/drawing/2014/main" id="{F031DF8B-EC4F-FEE0-91EA-67AC4827536D}"/>
              </a:ext>
            </a:extLst>
          </p:cNvPr>
          <p:cNvSpPr>
            <a:spLocks noGrp="1"/>
          </p:cNvSpPr>
          <p:nvPr>
            <p:custDataLst>
              <p:tags r:id="rId5"/>
            </p:custDataLst>
          </p:nvPr>
        </p:nvSpPr>
        <p:spPr bwMode="auto">
          <a:xfrm>
            <a:off x="609919" y="5466760"/>
            <a:ext cx="1768475"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r>
              <a:rPr lang="en-IN" altLang="en-US" sz="1000" dirty="0">
                <a:latin typeface="+mn-lt"/>
              </a:rPr>
              <a:t>Construction and extraction</a:t>
            </a:r>
            <a:endParaRPr lang="en-IN" sz="1000" dirty="0">
              <a:latin typeface="+mn-lt"/>
            </a:endParaRPr>
          </a:p>
        </p:txBody>
      </p:sp>
      <p:sp>
        <p:nvSpPr>
          <p:cNvPr id="12" name="Text Placeholder 2">
            <a:extLst>
              <a:ext uri="{FF2B5EF4-FFF2-40B4-BE49-F238E27FC236}">
                <a16:creationId xmlns:a16="http://schemas.microsoft.com/office/drawing/2014/main" id="{DC0A209F-B725-CF8D-84F5-E27E47F59044}"/>
              </a:ext>
            </a:extLst>
          </p:cNvPr>
          <p:cNvSpPr>
            <a:spLocks noGrp="1"/>
          </p:cNvSpPr>
          <p:nvPr>
            <p:custDataLst>
              <p:tags r:id="rId6"/>
            </p:custDataLst>
          </p:nvPr>
        </p:nvSpPr>
        <p:spPr bwMode="auto">
          <a:xfrm>
            <a:off x="609919" y="3217425"/>
            <a:ext cx="361950"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9D7FABFA-ECDA-45D6-BF1F-C3F5911D0D7C}" type="datetime'''''''''''S''a''l''''e''s'''''''''">
              <a:rPr lang="en-IN" altLang="en-US" sz="1000" smtClean="0">
                <a:latin typeface="+mn-lt"/>
              </a:rPr>
              <a:pPr/>
              <a:t>Sales</a:t>
            </a:fld>
            <a:endParaRPr lang="en-IN" sz="1000" dirty="0">
              <a:latin typeface="+mn-lt"/>
            </a:endParaRPr>
          </a:p>
        </p:txBody>
      </p:sp>
      <p:sp>
        <p:nvSpPr>
          <p:cNvPr id="11" name="Text Placeholder 2">
            <a:extLst>
              <a:ext uri="{FF2B5EF4-FFF2-40B4-BE49-F238E27FC236}">
                <a16:creationId xmlns:a16="http://schemas.microsoft.com/office/drawing/2014/main" id="{C5D059F0-3150-B464-FC2D-3FECF3400DFF}"/>
              </a:ext>
            </a:extLst>
          </p:cNvPr>
          <p:cNvSpPr>
            <a:spLocks noGrp="1"/>
          </p:cNvSpPr>
          <p:nvPr>
            <p:custDataLst>
              <p:tags r:id="rId7"/>
            </p:custDataLst>
          </p:nvPr>
        </p:nvSpPr>
        <p:spPr bwMode="auto">
          <a:xfrm>
            <a:off x="609919" y="1757309"/>
            <a:ext cx="1593850"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D3E687E0-71B1-4B67-97E4-ECD2D45CD179}" type="datetime'Admini''s''''t''r''a''ti''v''''''''''''e ''''S''up''''port'''">
              <a:rPr lang="en-IN" altLang="en-US" sz="1000" smtClean="0">
                <a:latin typeface="+mn-lt"/>
              </a:rPr>
              <a:pPr marL="0" indent="0">
                <a:spcBef>
                  <a:spcPct val="0"/>
                </a:spcBef>
                <a:spcAft>
                  <a:spcPct val="0"/>
                </a:spcAft>
                <a:buNone/>
              </a:pPr>
              <a:t>Administrative Support</a:t>
            </a:fld>
            <a:endParaRPr lang="en-IN" sz="1000" dirty="0">
              <a:latin typeface="+mn-lt"/>
            </a:endParaRPr>
          </a:p>
        </p:txBody>
      </p:sp>
      <p:sp>
        <p:nvSpPr>
          <p:cNvPr id="4" name="Text Placeholder 2">
            <a:extLst>
              <a:ext uri="{FF2B5EF4-FFF2-40B4-BE49-F238E27FC236}">
                <a16:creationId xmlns:a16="http://schemas.microsoft.com/office/drawing/2014/main" id="{572B5CB1-BF8B-C361-88AF-30C8832B28DB}"/>
              </a:ext>
            </a:extLst>
          </p:cNvPr>
          <p:cNvSpPr>
            <a:spLocks noGrp="1"/>
          </p:cNvSpPr>
          <p:nvPr>
            <p:custDataLst>
              <p:tags r:id="rId8"/>
            </p:custDataLst>
          </p:nvPr>
        </p:nvSpPr>
        <p:spPr bwMode="auto">
          <a:xfrm>
            <a:off x="609919" y="2195000"/>
            <a:ext cx="1860550"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r>
              <a:rPr lang="en-IN" altLang="en-US" sz="1000" dirty="0">
                <a:latin typeface="+mn-lt"/>
              </a:rPr>
              <a:t>Architecture and engineering</a:t>
            </a:r>
            <a:endParaRPr lang="en-IN" sz="1000" dirty="0">
              <a:latin typeface="+mn-lt"/>
            </a:endParaRPr>
          </a:p>
        </p:txBody>
      </p:sp>
      <p:sp>
        <p:nvSpPr>
          <p:cNvPr id="17" name="Text Placeholder 2">
            <a:extLst>
              <a:ext uri="{FF2B5EF4-FFF2-40B4-BE49-F238E27FC236}">
                <a16:creationId xmlns:a16="http://schemas.microsoft.com/office/drawing/2014/main" id="{10DD7BFD-97D6-97C6-FFBF-9CEB22AF4F4C}"/>
              </a:ext>
            </a:extLst>
          </p:cNvPr>
          <p:cNvSpPr>
            <a:spLocks noGrp="1"/>
          </p:cNvSpPr>
          <p:nvPr>
            <p:custDataLst>
              <p:tags r:id="rId9"/>
            </p:custDataLst>
          </p:nvPr>
        </p:nvSpPr>
        <p:spPr bwMode="auto">
          <a:xfrm>
            <a:off x="609919" y="2603970"/>
            <a:ext cx="534988"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ECB26340-9122-428B-8328-8E8981552F2C}" type="datetime'''''''F''''''i''''''''''''''''''''n''''''anc''''''e'''''''''">
              <a:rPr lang="en-IN" altLang="en-US" sz="1000" smtClean="0">
                <a:latin typeface="+mn-lt"/>
              </a:rPr>
              <a:pPr marL="0" indent="0">
                <a:spcBef>
                  <a:spcPct val="0"/>
                </a:spcBef>
                <a:spcAft>
                  <a:spcPct val="0"/>
                </a:spcAft>
                <a:buNone/>
              </a:pPr>
              <a:t>Finance</a:t>
            </a:fld>
            <a:endParaRPr lang="en-IN" sz="1000" dirty="0">
              <a:latin typeface="+mn-lt"/>
            </a:endParaRPr>
          </a:p>
        </p:txBody>
      </p:sp>
      <p:sp>
        <p:nvSpPr>
          <p:cNvPr id="16" name="Text Placeholder 2">
            <a:extLst>
              <a:ext uri="{FF2B5EF4-FFF2-40B4-BE49-F238E27FC236}">
                <a16:creationId xmlns:a16="http://schemas.microsoft.com/office/drawing/2014/main" id="{F415EB4D-4882-CE5E-8F90-5DA76FE6E137}"/>
              </a:ext>
            </a:extLst>
          </p:cNvPr>
          <p:cNvSpPr>
            <a:spLocks noGrp="1"/>
          </p:cNvSpPr>
          <p:nvPr>
            <p:custDataLst>
              <p:tags r:id="rId10"/>
            </p:custDataLst>
          </p:nvPr>
        </p:nvSpPr>
        <p:spPr bwMode="auto">
          <a:xfrm>
            <a:off x="609919" y="2399485"/>
            <a:ext cx="828675"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E7759BA7-BFDB-4C61-8E0A-6126F78D17E6}" type="datetime'''''''Li''''fe S''c''i''''''e''n''''''''c''''''''e'''">
              <a:rPr lang="en-IN" altLang="en-US" sz="1000" smtClean="0">
                <a:latin typeface="+mn-lt"/>
              </a:rPr>
              <a:pPr marL="0" indent="0">
                <a:spcBef>
                  <a:spcPct val="0"/>
                </a:spcBef>
                <a:spcAft>
                  <a:spcPct val="0"/>
                </a:spcAft>
                <a:buNone/>
              </a:pPr>
              <a:t>Life Science</a:t>
            </a:fld>
            <a:endParaRPr lang="en-IN" sz="1000" dirty="0">
              <a:latin typeface="+mn-lt"/>
            </a:endParaRPr>
          </a:p>
        </p:txBody>
      </p:sp>
      <p:sp>
        <p:nvSpPr>
          <p:cNvPr id="18" name="Text Placeholder 2">
            <a:extLst>
              <a:ext uri="{FF2B5EF4-FFF2-40B4-BE49-F238E27FC236}">
                <a16:creationId xmlns:a16="http://schemas.microsoft.com/office/drawing/2014/main" id="{2081DD8E-A1B4-F5F3-C306-DC80CEBF533A}"/>
              </a:ext>
            </a:extLst>
          </p:cNvPr>
          <p:cNvSpPr>
            <a:spLocks noGrp="1"/>
          </p:cNvSpPr>
          <p:nvPr>
            <p:custDataLst>
              <p:tags r:id="rId11"/>
            </p:custDataLst>
          </p:nvPr>
        </p:nvSpPr>
        <p:spPr bwMode="auto">
          <a:xfrm>
            <a:off x="609919" y="2808455"/>
            <a:ext cx="957263"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127D5D4B-BDFC-4F80-8FD7-ADB5FA5EF060}" type="datetime'S''''''''''''''oc''ial'''''''''''''' Se''r''''''''vi''''ce'">
              <a:rPr lang="en-IN" altLang="en-US" sz="1000" smtClean="0">
                <a:latin typeface="+mn-lt"/>
              </a:rPr>
              <a:pPr marL="0" indent="0">
                <a:spcBef>
                  <a:spcPct val="0"/>
                </a:spcBef>
                <a:spcAft>
                  <a:spcPct val="0"/>
                </a:spcAft>
                <a:buNone/>
              </a:pPr>
              <a:t>Social Service</a:t>
            </a:fld>
            <a:endParaRPr lang="en-IN" sz="1000" dirty="0">
              <a:latin typeface="+mn-lt"/>
            </a:endParaRPr>
          </a:p>
        </p:txBody>
      </p:sp>
      <p:sp>
        <p:nvSpPr>
          <p:cNvPr id="6" name="Text Placeholder 2">
            <a:extLst>
              <a:ext uri="{FF2B5EF4-FFF2-40B4-BE49-F238E27FC236}">
                <a16:creationId xmlns:a16="http://schemas.microsoft.com/office/drawing/2014/main" id="{039894DE-ECDC-EA5F-9765-9C4BBB777891}"/>
              </a:ext>
            </a:extLst>
          </p:cNvPr>
          <p:cNvSpPr>
            <a:spLocks noGrp="1"/>
          </p:cNvSpPr>
          <p:nvPr>
            <p:custDataLst>
              <p:tags r:id="rId12"/>
            </p:custDataLst>
          </p:nvPr>
        </p:nvSpPr>
        <p:spPr bwMode="auto">
          <a:xfrm>
            <a:off x="609919" y="3421910"/>
            <a:ext cx="1246188"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51ECCBDC-6C59-4D46-9502-06995B0BC921}" type="datetime'''''''Co''''m''''p''''u''''t''''''er ''Sc''''''ience'''''''">
              <a:rPr lang="en-IN" altLang="en-US" sz="1000" smtClean="0">
                <a:latin typeface="+mn-lt"/>
              </a:rPr>
              <a:pPr marL="0" indent="0">
                <a:spcBef>
                  <a:spcPct val="0"/>
                </a:spcBef>
                <a:spcAft>
                  <a:spcPct val="0"/>
                </a:spcAft>
                <a:buNone/>
              </a:pPr>
              <a:t>Computer Science</a:t>
            </a:fld>
            <a:endParaRPr lang="en-IN" sz="1000" dirty="0">
              <a:latin typeface="+mn-lt"/>
            </a:endParaRPr>
          </a:p>
        </p:txBody>
      </p:sp>
      <p:sp>
        <p:nvSpPr>
          <p:cNvPr id="20" name="Text Placeholder 2">
            <a:extLst>
              <a:ext uri="{FF2B5EF4-FFF2-40B4-BE49-F238E27FC236}">
                <a16:creationId xmlns:a16="http://schemas.microsoft.com/office/drawing/2014/main" id="{DE249D30-015D-B6A6-AF08-988271F52A04}"/>
              </a:ext>
            </a:extLst>
          </p:cNvPr>
          <p:cNvSpPr>
            <a:spLocks noGrp="1"/>
          </p:cNvSpPr>
          <p:nvPr>
            <p:custDataLst>
              <p:tags r:id="rId13"/>
            </p:custDataLst>
          </p:nvPr>
        </p:nvSpPr>
        <p:spPr bwMode="auto">
          <a:xfrm>
            <a:off x="609919" y="3626395"/>
            <a:ext cx="1924050"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r>
              <a:rPr lang="en-IN" altLang="en-US" sz="1000" dirty="0">
                <a:latin typeface="+mn-lt"/>
              </a:rPr>
              <a:t>Farming, fishing and forestry</a:t>
            </a:r>
            <a:endParaRPr lang="en-IN" sz="1000" dirty="0">
              <a:latin typeface="+mn-lt"/>
            </a:endParaRPr>
          </a:p>
        </p:txBody>
      </p:sp>
      <p:sp>
        <p:nvSpPr>
          <p:cNvPr id="21" name="Text Placeholder 2">
            <a:extLst>
              <a:ext uri="{FF2B5EF4-FFF2-40B4-BE49-F238E27FC236}">
                <a16:creationId xmlns:a16="http://schemas.microsoft.com/office/drawing/2014/main" id="{88302ADD-173B-FBA5-F7FA-870926F73396}"/>
              </a:ext>
            </a:extLst>
          </p:cNvPr>
          <p:cNvSpPr>
            <a:spLocks noGrp="1"/>
          </p:cNvSpPr>
          <p:nvPr>
            <p:custDataLst>
              <p:tags r:id="rId14"/>
            </p:custDataLst>
          </p:nvPr>
        </p:nvSpPr>
        <p:spPr bwMode="auto">
          <a:xfrm>
            <a:off x="609919" y="3830880"/>
            <a:ext cx="1320800"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0AC12560-6D72-447A-8A76-3F84A1C4E6D9}" type="datetime'P''''rot''''ect''i''''v''e'''' S''''''''e''r''vi''ces'''''">
              <a:rPr lang="en-IN" altLang="en-US" sz="1000" smtClean="0">
                <a:latin typeface="+mn-lt"/>
              </a:rPr>
              <a:pPr marL="0" indent="0">
                <a:spcBef>
                  <a:spcPct val="0"/>
                </a:spcBef>
                <a:spcAft>
                  <a:spcPct val="0"/>
                </a:spcAft>
                <a:buNone/>
              </a:pPr>
              <a:t>Protective Services</a:t>
            </a:fld>
            <a:endParaRPr lang="en-IN" sz="1000" dirty="0">
              <a:latin typeface="+mn-lt"/>
            </a:endParaRPr>
          </a:p>
        </p:txBody>
      </p:sp>
      <p:sp>
        <p:nvSpPr>
          <p:cNvPr id="5" name="Text Placeholder 2">
            <a:extLst>
              <a:ext uri="{FF2B5EF4-FFF2-40B4-BE49-F238E27FC236}">
                <a16:creationId xmlns:a16="http://schemas.microsoft.com/office/drawing/2014/main" id="{9D11FD73-B6F4-4A40-5C48-A123E1A8BE33}"/>
              </a:ext>
            </a:extLst>
          </p:cNvPr>
          <p:cNvSpPr>
            <a:spLocks noGrp="1"/>
          </p:cNvSpPr>
          <p:nvPr>
            <p:custDataLst>
              <p:tags r:id="rId15"/>
            </p:custDataLst>
          </p:nvPr>
        </p:nvSpPr>
        <p:spPr bwMode="auto">
          <a:xfrm>
            <a:off x="609919" y="4035365"/>
            <a:ext cx="746125"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r>
              <a:rPr lang="en-IN" altLang="en-US" sz="1000" dirty="0">
                <a:latin typeface="+mn-lt"/>
              </a:rPr>
              <a:t>Health care</a:t>
            </a:r>
            <a:endParaRPr lang="en-IN" sz="1000" dirty="0">
              <a:latin typeface="+mn-lt"/>
            </a:endParaRPr>
          </a:p>
        </p:txBody>
      </p:sp>
      <p:sp>
        <p:nvSpPr>
          <p:cNvPr id="28" name="Text Placeholder 2">
            <a:extLst>
              <a:ext uri="{FF2B5EF4-FFF2-40B4-BE49-F238E27FC236}">
                <a16:creationId xmlns:a16="http://schemas.microsoft.com/office/drawing/2014/main" id="{C6FC9E54-93BA-FBA0-45B1-165E164909C2}"/>
              </a:ext>
            </a:extLst>
          </p:cNvPr>
          <p:cNvSpPr>
            <a:spLocks noGrp="1"/>
          </p:cNvSpPr>
          <p:nvPr>
            <p:custDataLst>
              <p:tags r:id="rId16"/>
            </p:custDataLst>
          </p:nvPr>
        </p:nvSpPr>
        <p:spPr bwMode="auto">
          <a:xfrm>
            <a:off x="609919" y="4239850"/>
            <a:ext cx="682625"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BCACF9AE-CDD7-4B80-964A-47FE97157B8E}" type="datetime'E''''''''''''d''''uc''''''''''''''at''''''''''i''''''on'''">
              <a:rPr lang="en-IN" altLang="en-US" sz="1000" smtClean="0">
                <a:latin typeface="+mn-lt"/>
              </a:rPr>
              <a:pPr marL="0" indent="0">
                <a:spcBef>
                  <a:spcPct val="0"/>
                </a:spcBef>
                <a:spcAft>
                  <a:spcPct val="0"/>
                </a:spcAft>
                <a:buNone/>
              </a:pPr>
              <a:t>Education</a:t>
            </a:fld>
            <a:endParaRPr lang="en-IN" sz="1000" dirty="0">
              <a:latin typeface="+mn-lt"/>
            </a:endParaRPr>
          </a:p>
        </p:txBody>
      </p:sp>
      <p:sp>
        <p:nvSpPr>
          <p:cNvPr id="72" name="Text Placeholder 2">
            <a:extLst>
              <a:ext uri="{FF2B5EF4-FFF2-40B4-BE49-F238E27FC236}">
                <a16:creationId xmlns:a16="http://schemas.microsoft.com/office/drawing/2014/main" id="{419490EA-F4BC-B02D-A817-3106ADC9A626}"/>
              </a:ext>
            </a:extLst>
          </p:cNvPr>
          <p:cNvSpPr>
            <a:spLocks noGrp="1"/>
          </p:cNvSpPr>
          <p:nvPr>
            <p:custDataLst>
              <p:tags r:id="rId17"/>
            </p:custDataLst>
          </p:nvPr>
        </p:nvSpPr>
        <p:spPr bwMode="auto">
          <a:xfrm>
            <a:off x="609919" y="4444335"/>
            <a:ext cx="993775"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DC4FA779-6EF6-4C6E-AECD-4EBD35F5488C}" type="datetime'''''E''n''t''''''''ert''a''''i''''''n''me''n''t'">
              <a:rPr lang="en-US" altLang="en-US" sz="1000" smtClean="0">
                <a:latin typeface="+mn-lt"/>
              </a:rPr>
              <a:pPr marL="0" indent="0">
                <a:spcBef>
                  <a:spcPct val="0"/>
                </a:spcBef>
                <a:spcAft>
                  <a:spcPct val="0"/>
                </a:spcAft>
                <a:buNone/>
              </a:pPr>
              <a:t>Entertainment</a:t>
            </a:fld>
            <a:endParaRPr lang="en-IN" sz="1000" dirty="0">
              <a:latin typeface="+mn-lt"/>
            </a:endParaRPr>
          </a:p>
        </p:txBody>
      </p:sp>
      <p:sp>
        <p:nvSpPr>
          <p:cNvPr id="19" name="Text Placeholder 2">
            <a:extLst>
              <a:ext uri="{FF2B5EF4-FFF2-40B4-BE49-F238E27FC236}">
                <a16:creationId xmlns:a16="http://schemas.microsoft.com/office/drawing/2014/main" id="{2D6B2B1F-DD75-94DD-EA96-3A116EAC9224}"/>
              </a:ext>
            </a:extLst>
          </p:cNvPr>
          <p:cNvSpPr>
            <a:spLocks noGrp="1"/>
          </p:cNvSpPr>
          <p:nvPr>
            <p:custDataLst>
              <p:tags r:id="rId18"/>
            </p:custDataLst>
          </p:nvPr>
        </p:nvSpPr>
        <p:spPr bwMode="auto">
          <a:xfrm>
            <a:off x="609919" y="4648820"/>
            <a:ext cx="952500"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43E6CB87-C6A2-42C4-9041-A1E6175D3003}" type="datetime'''P''''er''s''o''''''''n''al ''C''''a''''''''''re'''''''''''">
              <a:rPr lang="en-IN" altLang="en-US" sz="1000" smtClean="0">
                <a:latin typeface="+mn-lt"/>
              </a:rPr>
              <a:pPr marL="0" indent="0">
                <a:spcBef>
                  <a:spcPct val="0"/>
                </a:spcBef>
                <a:spcAft>
                  <a:spcPct val="0"/>
                </a:spcAft>
                <a:buNone/>
              </a:pPr>
              <a:t>Personal Care</a:t>
            </a:fld>
            <a:endParaRPr lang="en-IN" sz="1000" dirty="0">
              <a:latin typeface="+mn-lt"/>
            </a:endParaRPr>
          </a:p>
        </p:txBody>
      </p:sp>
      <p:sp>
        <p:nvSpPr>
          <p:cNvPr id="74" name="Text Placeholder 2">
            <a:extLst>
              <a:ext uri="{FF2B5EF4-FFF2-40B4-BE49-F238E27FC236}">
                <a16:creationId xmlns:a16="http://schemas.microsoft.com/office/drawing/2014/main" id="{979D46AC-24CA-266A-6DD8-2BDDD4D92637}"/>
              </a:ext>
            </a:extLst>
          </p:cNvPr>
          <p:cNvSpPr>
            <a:spLocks noGrp="1"/>
          </p:cNvSpPr>
          <p:nvPr>
            <p:custDataLst>
              <p:tags r:id="rId19"/>
            </p:custDataLst>
          </p:nvPr>
        </p:nvSpPr>
        <p:spPr bwMode="auto">
          <a:xfrm>
            <a:off x="609919" y="4853305"/>
            <a:ext cx="1177925"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D7D6FB17-AAD4-4363-B3A5-F16B04BC94B6}" type="datetime'Fo''''''o''d'' P''''r''epa''''''ra''t''''ion'''''''''">
              <a:rPr lang="en-IN" altLang="en-US" sz="1000" smtClean="0">
                <a:latin typeface="+mn-lt"/>
              </a:rPr>
              <a:pPr marL="0" indent="0">
                <a:spcBef>
                  <a:spcPct val="0"/>
                </a:spcBef>
                <a:spcAft>
                  <a:spcPct val="0"/>
                </a:spcAft>
                <a:buNone/>
              </a:pPr>
              <a:t>Food Preparation</a:t>
            </a:fld>
            <a:endParaRPr lang="en-IN" sz="1000" dirty="0">
              <a:latin typeface="+mn-lt"/>
            </a:endParaRPr>
          </a:p>
        </p:txBody>
      </p:sp>
      <p:sp>
        <p:nvSpPr>
          <p:cNvPr id="75" name="Text Placeholder 2">
            <a:extLst>
              <a:ext uri="{FF2B5EF4-FFF2-40B4-BE49-F238E27FC236}">
                <a16:creationId xmlns:a16="http://schemas.microsoft.com/office/drawing/2014/main" id="{E3C4DBC7-C369-D7F6-3EAC-EBDDECF0C27A}"/>
              </a:ext>
            </a:extLst>
          </p:cNvPr>
          <p:cNvSpPr>
            <a:spLocks noGrp="1"/>
          </p:cNvSpPr>
          <p:nvPr>
            <p:custDataLst>
              <p:tags r:id="rId20"/>
            </p:custDataLst>
          </p:nvPr>
        </p:nvSpPr>
        <p:spPr bwMode="auto">
          <a:xfrm>
            <a:off x="609919" y="5057790"/>
            <a:ext cx="1014413"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AAC108F9-9F43-4A70-8608-5E7A8B0E932E}" type="datetime'T''''r''''''''a''n''sp''''''o''''''''''r''''t''a''ti''''on'''">
              <a:rPr lang="en-IN" altLang="en-US" sz="1000" smtClean="0">
                <a:latin typeface="+mn-lt"/>
              </a:rPr>
              <a:pPr marL="0" indent="0">
                <a:spcBef>
                  <a:spcPct val="0"/>
                </a:spcBef>
                <a:spcAft>
                  <a:spcPct val="0"/>
                </a:spcAft>
                <a:buNone/>
              </a:pPr>
              <a:t>Transportation</a:t>
            </a:fld>
            <a:endParaRPr lang="en-IN" sz="1000" dirty="0">
              <a:latin typeface="+mn-lt"/>
            </a:endParaRPr>
          </a:p>
        </p:txBody>
      </p:sp>
      <p:sp>
        <p:nvSpPr>
          <p:cNvPr id="76" name="Text Placeholder 2">
            <a:extLst>
              <a:ext uri="{FF2B5EF4-FFF2-40B4-BE49-F238E27FC236}">
                <a16:creationId xmlns:a16="http://schemas.microsoft.com/office/drawing/2014/main" id="{26C73EBF-9497-94FE-1C0D-0742B23DAD42}"/>
              </a:ext>
            </a:extLst>
          </p:cNvPr>
          <p:cNvSpPr>
            <a:spLocks noGrp="1"/>
          </p:cNvSpPr>
          <p:nvPr>
            <p:custDataLst>
              <p:tags r:id="rId21"/>
            </p:custDataLst>
          </p:nvPr>
        </p:nvSpPr>
        <p:spPr bwMode="auto">
          <a:xfrm>
            <a:off x="609919" y="5262275"/>
            <a:ext cx="754063"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6B339139-D096-4B4E-83F3-432911ED7EFE}" type="datetime'''''''''''Pro''du''''''''''''''ct''i''''o''''''''n'''''''''">
              <a:rPr lang="en-IN" altLang="en-US" sz="1000" smtClean="0">
                <a:latin typeface="+mn-lt"/>
              </a:rPr>
              <a:pPr marL="0" indent="0">
                <a:spcBef>
                  <a:spcPct val="0"/>
                </a:spcBef>
                <a:spcAft>
                  <a:spcPct val="0"/>
                </a:spcAft>
                <a:buNone/>
              </a:pPr>
              <a:t>Production</a:t>
            </a:fld>
            <a:endParaRPr lang="en-IN" sz="1000" dirty="0">
              <a:latin typeface="+mn-lt"/>
            </a:endParaRPr>
          </a:p>
        </p:txBody>
      </p:sp>
      <p:sp>
        <p:nvSpPr>
          <p:cNvPr id="79" name="Text Placeholder 2">
            <a:extLst>
              <a:ext uri="{FF2B5EF4-FFF2-40B4-BE49-F238E27FC236}">
                <a16:creationId xmlns:a16="http://schemas.microsoft.com/office/drawing/2014/main" id="{6BD14480-345F-3F49-523E-62194729CCF5}"/>
              </a:ext>
            </a:extLst>
          </p:cNvPr>
          <p:cNvSpPr>
            <a:spLocks noGrp="1"/>
          </p:cNvSpPr>
          <p:nvPr>
            <p:custDataLst>
              <p:tags r:id="rId22"/>
            </p:custDataLst>
          </p:nvPr>
        </p:nvSpPr>
        <p:spPr bwMode="auto">
          <a:xfrm>
            <a:off x="609919" y="5671247"/>
            <a:ext cx="595313" cy="1738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EF4624F8-E966-46F8-928B-23038315F304}" type="datetime'''''''C''le''''an''''''''''''''i''n''g'">
              <a:rPr lang="en-IN" altLang="en-US" sz="1000" smtClean="0">
                <a:latin typeface="+mn-lt"/>
              </a:rPr>
              <a:pPr marL="0" indent="0">
                <a:spcBef>
                  <a:spcPct val="0"/>
                </a:spcBef>
                <a:spcAft>
                  <a:spcPct val="0"/>
                </a:spcAft>
                <a:buNone/>
              </a:pPr>
              <a:t>Cleaning</a:t>
            </a:fld>
            <a:endParaRPr lang="en-IN" sz="1000" dirty="0">
              <a:latin typeface="+mn-lt"/>
            </a:endParaRPr>
          </a:p>
        </p:txBody>
      </p:sp>
      <p:sp>
        <p:nvSpPr>
          <p:cNvPr id="198" name="TextBox 197">
            <a:extLst>
              <a:ext uri="{FF2B5EF4-FFF2-40B4-BE49-F238E27FC236}">
                <a16:creationId xmlns:a16="http://schemas.microsoft.com/office/drawing/2014/main" id="{2CC226AE-4218-8981-FA6A-B91AD2021C92}"/>
              </a:ext>
            </a:extLst>
          </p:cNvPr>
          <p:cNvSpPr txBox="1"/>
          <p:nvPr/>
        </p:nvSpPr>
        <p:spPr>
          <a:xfrm>
            <a:off x="616331" y="5945090"/>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GB" sz="800" dirty="0">
                <a:solidFill>
                  <a:schemeClr val="bg1"/>
                </a:solidFill>
              </a:rPr>
              <a:t>Source: </a:t>
            </a:r>
            <a:r>
              <a:rPr lang="en-US" sz="800" dirty="0">
                <a:solidFill>
                  <a:schemeClr val="bg1"/>
                </a:solidFill>
              </a:rPr>
              <a:t>Joseph Briggs and Devesh Kodnani, “</a:t>
            </a:r>
            <a:r>
              <a:rPr lang="en-GB" sz="800" dirty="0">
                <a:solidFill>
                  <a:schemeClr val="bg1"/>
                </a:solidFill>
              </a:rPr>
              <a:t>T</a:t>
            </a:r>
            <a:r>
              <a:rPr lang="en-US" sz="800" dirty="0">
                <a:solidFill>
                  <a:schemeClr val="bg1"/>
                </a:solidFill>
              </a:rPr>
              <a:t>he Potentially Large Effects of Artificial Intelligence on Economic Growth,” </a:t>
            </a:r>
            <a:r>
              <a:rPr lang="en-US" sz="800" i="1" dirty="0">
                <a:solidFill>
                  <a:schemeClr val="bg1"/>
                </a:solidFill>
              </a:rPr>
              <a:t>Goldman Sachs, </a:t>
            </a:r>
            <a:r>
              <a:rPr lang="en-US" sz="800" dirty="0">
                <a:solidFill>
                  <a:schemeClr val="bg1"/>
                </a:solidFill>
              </a:rPr>
              <a:t>March 2023.</a:t>
            </a:r>
            <a:endParaRPr lang="en-GB" sz="800" dirty="0">
              <a:solidFill>
                <a:schemeClr val="bg1"/>
              </a:solidFill>
            </a:endParaRPr>
          </a:p>
        </p:txBody>
      </p:sp>
      <p:sp>
        <p:nvSpPr>
          <p:cNvPr id="209" name="TextBox 208">
            <a:extLst>
              <a:ext uri="{FF2B5EF4-FFF2-40B4-BE49-F238E27FC236}">
                <a16:creationId xmlns:a16="http://schemas.microsoft.com/office/drawing/2014/main" id="{F8AEF405-3224-516C-B0D0-DE36DE16C5ED}"/>
              </a:ext>
            </a:extLst>
          </p:cNvPr>
          <p:cNvSpPr txBox="1"/>
          <p:nvPr/>
        </p:nvSpPr>
        <p:spPr>
          <a:xfrm>
            <a:off x="5734195" y="5725636"/>
            <a:ext cx="2831487"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GB" sz="1000" dirty="0">
                <a:solidFill>
                  <a:schemeClr val="bg1"/>
                </a:solidFill>
              </a:rPr>
              <a:t>Economy-wide average</a:t>
            </a:r>
          </a:p>
        </p:txBody>
      </p:sp>
      <p:sp>
        <p:nvSpPr>
          <p:cNvPr id="219" name="TextBox 218">
            <a:extLst>
              <a:ext uri="{FF2B5EF4-FFF2-40B4-BE49-F238E27FC236}">
                <a16:creationId xmlns:a16="http://schemas.microsoft.com/office/drawing/2014/main" id="{6A3E7257-E395-80EA-D8D2-38CEA6387AAE}"/>
              </a:ext>
            </a:extLst>
          </p:cNvPr>
          <p:cNvSpPr txBox="1"/>
          <p:nvPr/>
        </p:nvSpPr>
        <p:spPr>
          <a:xfrm>
            <a:off x="8734920" y="2997580"/>
            <a:ext cx="2853515" cy="2086050"/>
          </a:xfrm>
          <a:prstGeom prst="rect">
            <a:avLst/>
          </a:prstGeom>
          <a:noFill/>
          <a:ln w="9525">
            <a:solidFill>
              <a:schemeClr val="bg1"/>
            </a:solidFill>
          </a:ln>
        </p:spPr>
        <p:txBody>
          <a:bodyPr wrap="square" lIns="91440" tIns="91440" rIns="91440" bIns="91440" rtlCol="0" anchor="ctr">
            <a:noAutofit/>
          </a:bodyPr>
          <a:lstStyle/>
          <a:p>
            <a:pPr algn="ctr">
              <a:lnSpc>
                <a:spcPct val="85000"/>
              </a:lnSpc>
              <a:spcAft>
                <a:spcPts val="600"/>
              </a:spcAft>
              <a:buClr>
                <a:schemeClr val="accent2"/>
              </a:buClr>
              <a:buSzPct val="70000"/>
            </a:pPr>
            <a:r>
              <a:rPr lang="en-GB" dirty="0">
                <a:solidFill>
                  <a:schemeClr val="tx2"/>
                </a:solidFill>
              </a:rPr>
              <a:t>Goldman’s report predicts that legal will be one of the most impacted industries from generative AI, with 44% of jobs exposed to potential automation.</a:t>
            </a:r>
          </a:p>
        </p:txBody>
      </p:sp>
      <p:cxnSp>
        <p:nvCxnSpPr>
          <p:cNvPr id="30" name="Straight Connector 29">
            <a:extLst>
              <a:ext uri="{FF2B5EF4-FFF2-40B4-BE49-F238E27FC236}">
                <a16:creationId xmlns:a16="http://schemas.microsoft.com/office/drawing/2014/main" id="{87D32899-CDC3-91CB-C06B-78BC76AFFC51}"/>
              </a:ext>
            </a:extLst>
          </p:cNvPr>
          <p:cNvCxnSpPr>
            <a:cxnSpLocks/>
          </p:cNvCxnSpPr>
          <p:nvPr/>
        </p:nvCxnSpPr>
        <p:spPr>
          <a:xfrm flipV="1">
            <a:off x="5628369" y="1752600"/>
            <a:ext cx="0" cy="4114262"/>
          </a:xfrm>
          <a:prstGeom prst="line">
            <a:avLst/>
          </a:prstGeom>
          <a:ln w="9525">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4C28CE8-0BC5-10BB-E358-11948D0C7BAD}"/>
              </a:ext>
            </a:extLst>
          </p:cNvPr>
          <p:cNvGrpSpPr/>
          <p:nvPr/>
        </p:nvGrpSpPr>
        <p:grpSpPr>
          <a:xfrm>
            <a:off x="608203" y="1195254"/>
            <a:ext cx="10981944" cy="457200"/>
            <a:chOff x="608203" y="1195254"/>
            <a:chExt cx="10981944" cy="502920"/>
          </a:xfrm>
        </p:grpSpPr>
        <p:cxnSp>
          <p:nvCxnSpPr>
            <p:cNvPr id="35" name="Straight Connector 34">
              <a:extLst>
                <a:ext uri="{FF2B5EF4-FFF2-40B4-BE49-F238E27FC236}">
                  <a16:creationId xmlns:a16="http://schemas.microsoft.com/office/drawing/2014/main" id="{EB0747B7-3CE8-937B-97EC-CCD60FF861DE}"/>
                </a:ext>
              </a:extLst>
            </p:cNvPr>
            <p:cNvCxnSpPr>
              <a:cxnSpLocks/>
            </p:cNvCxnSpPr>
            <p:nvPr/>
          </p:nvCxnSpPr>
          <p:spPr>
            <a:xfrm>
              <a:off x="608203" y="1446714"/>
              <a:ext cx="10981944" cy="0"/>
            </a:xfrm>
            <a:prstGeom prst="line">
              <a:avLst/>
            </a:prstGeom>
            <a:ln w="9525">
              <a:solidFill>
                <a:srgbClr val="C4C4CD"/>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EF35C0B-5037-E36E-D3B4-6252E05002C8}"/>
                </a:ext>
              </a:extLst>
            </p:cNvPr>
            <p:cNvSpPr txBox="1"/>
            <p:nvPr/>
          </p:nvSpPr>
          <p:spPr>
            <a:xfrm>
              <a:off x="1937657" y="1195254"/>
              <a:ext cx="8323040" cy="50292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Aft>
                  <a:spcPts val="0"/>
                </a:spcAft>
                <a:buClrTx/>
                <a:buSzTx/>
                <a:buFontTx/>
                <a:buNone/>
                <a:tabLst/>
                <a:defRPr/>
              </a:pPr>
              <a:r>
                <a:rPr lang="en-IN" sz="1400" b="1" dirty="0">
                  <a:solidFill>
                    <a:schemeClr val="tx1">
                      <a:lumMod val="100000"/>
                    </a:schemeClr>
                  </a:solidFill>
                </a:rPr>
                <a:t>One-fourth of current work tasks could be automated by AI in the US and Europe</a:t>
              </a:r>
            </a:p>
            <a:p>
              <a:pPr marL="0" marR="0" lvl="0" indent="0" algn="ctr" defTabSz="914400" rtl="0" eaLnBrk="1" fontAlgn="auto" latinLnBrk="0" hangingPunct="1">
                <a:lnSpc>
                  <a:spcPct val="100000"/>
                </a:lnSpc>
                <a:spcAft>
                  <a:spcPts val="0"/>
                </a:spcAft>
                <a:buClrTx/>
                <a:buSzTx/>
                <a:buFontTx/>
                <a:buNone/>
                <a:tabLst/>
                <a:defRPr/>
              </a:pPr>
              <a:r>
                <a:rPr lang="en-IN" sz="1400" b="1" i="1" dirty="0">
                  <a:solidFill>
                    <a:schemeClr val="tx1">
                      <a:lumMod val="100000"/>
                    </a:schemeClr>
                  </a:solidFill>
                </a:rPr>
                <a:t>Share of industry employment exposed to automation by AI: US</a:t>
              </a:r>
            </a:p>
          </p:txBody>
        </p:sp>
      </p:grpSp>
    </p:spTree>
    <p:extLst>
      <p:ext uri="{BB962C8B-B14F-4D97-AF65-F5344CB8AC3E}">
        <p14:creationId xmlns:p14="http://schemas.microsoft.com/office/powerpoint/2010/main" val="1934831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74D3F3E-F39E-D430-E7A7-93C7128858D6}"/>
              </a:ext>
            </a:extLst>
          </p:cNvPr>
          <p:cNvGraphicFramePr>
            <a:graphicFrameLocks noChangeAspect="1"/>
          </p:cNvGraphicFramePr>
          <p:nvPr>
            <p:custDataLst>
              <p:tags r:id="rId1"/>
            </p:custDataLst>
            <p:extLst>
              <p:ext uri="{D42A27DB-BD31-4B8C-83A1-F6EECF244321}">
                <p14:modId xmlns:p14="http://schemas.microsoft.com/office/powerpoint/2010/main" val="166988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28" imgH="328" progId="TCLayout.ActiveDocument.1">
                  <p:embed/>
                </p:oleObj>
              </mc:Choice>
              <mc:Fallback>
                <p:oleObj name="think-cell Slide" r:id="rId10" imgW="328" imgH="328" progId="TCLayout.ActiveDocument.1">
                  <p:embed/>
                  <p:pic>
                    <p:nvPicPr>
                      <p:cNvPr id="9" name="Object 8" hidden="1">
                        <a:extLst>
                          <a:ext uri="{FF2B5EF4-FFF2-40B4-BE49-F238E27FC236}">
                            <a16:creationId xmlns:a16="http://schemas.microsoft.com/office/drawing/2014/main" id="{E74D3F3E-F39E-D430-E7A7-93C7128858D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3D4CBD-311E-227E-861C-488FE09483A9}"/>
              </a:ext>
            </a:extLst>
          </p:cNvPr>
          <p:cNvSpPr>
            <a:spLocks noGrp="1"/>
          </p:cNvSpPr>
          <p:nvPr>
            <p:ph type="title"/>
          </p:nvPr>
        </p:nvSpPr>
        <p:spPr>
          <a:xfrm>
            <a:off x="602616" y="294200"/>
            <a:ext cx="10978515" cy="590400"/>
          </a:xfrm>
        </p:spPr>
        <p:txBody>
          <a:bodyPr/>
          <a:lstStyle/>
          <a:p>
            <a:r>
              <a:rPr lang="en-GB" dirty="0"/>
              <a:t>Law firms and in-house lawyers are excited about the technology … but have no plans to use in the near future</a:t>
            </a:r>
          </a:p>
        </p:txBody>
      </p:sp>
      <p:graphicFrame>
        <p:nvGraphicFramePr>
          <p:cNvPr id="10" name="Chart 9">
            <a:extLst>
              <a:ext uri="{FF2B5EF4-FFF2-40B4-BE49-F238E27FC236}">
                <a16:creationId xmlns:a16="http://schemas.microsoft.com/office/drawing/2014/main" id="{30749453-E377-A056-020B-07DEDFB13EA6}"/>
              </a:ext>
            </a:extLst>
          </p:cNvPr>
          <p:cNvGraphicFramePr/>
          <p:nvPr>
            <p:custDataLst>
              <p:tags r:id="rId2"/>
            </p:custDataLst>
            <p:extLst>
              <p:ext uri="{D42A27DB-BD31-4B8C-83A1-F6EECF244321}">
                <p14:modId xmlns:p14="http://schemas.microsoft.com/office/powerpoint/2010/main" val="63644809"/>
              </p:ext>
            </p:extLst>
          </p:nvPr>
        </p:nvGraphicFramePr>
        <p:xfrm>
          <a:off x="8008035" y="2044700"/>
          <a:ext cx="3573096" cy="3870325"/>
        </p:xfrm>
        <a:graphic>
          <a:graphicData uri="http://schemas.openxmlformats.org/drawingml/2006/chart">
            <c:chart xmlns:c="http://schemas.openxmlformats.org/drawingml/2006/chart" xmlns:r="http://schemas.openxmlformats.org/officeDocument/2006/relationships" r:id="rId12"/>
          </a:graphicData>
        </a:graphic>
      </p:graphicFrame>
      <p:sp>
        <p:nvSpPr>
          <p:cNvPr id="82" name="Rectangle 81">
            <a:extLst>
              <a:ext uri="{FF2B5EF4-FFF2-40B4-BE49-F238E27FC236}">
                <a16:creationId xmlns:a16="http://schemas.microsoft.com/office/drawing/2014/main" id="{77916355-7866-30D1-A11A-366CB02D3367}"/>
              </a:ext>
            </a:extLst>
          </p:cNvPr>
          <p:cNvSpPr/>
          <p:nvPr>
            <p:custDataLst>
              <p:tags r:id="rId3"/>
            </p:custDataLst>
          </p:nvPr>
        </p:nvSpPr>
        <p:spPr bwMode="auto">
          <a:xfrm>
            <a:off x="6369051" y="2482850"/>
            <a:ext cx="12606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DA07322D-F11F-495A-9E96-60D78C7CA23C}" type="datetime'''''A''l''''re''a''d''''y us''''''''in''''''g ''''i''t!'''">
              <a:rPr lang="en-US" altLang="en-US" sz="1400" smtClean="0">
                <a:solidFill>
                  <a:schemeClr val="bg1"/>
                </a:solidFill>
              </a:rPr>
              <a:pPr>
                <a:spcBef>
                  <a:spcPct val="0"/>
                </a:spcBef>
                <a:spcAft>
                  <a:spcPct val="0"/>
                </a:spcAft>
              </a:pPr>
              <a:t>Already using it!</a:t>
            </a:fld>
            <a:endParaRPr lang="en-GB" sz="1400" dirty="0">
              <a:solidFill>
                <a:schemeClr val="bg1"/>
              </a:solidFill>
            </a:endParaRPr>
          </a:p>
        </p:txBody>
      </p:sp>
      <p:sp>
        <p:nvSpPr>
          <p:cNvPr id="100" name="Rectangle 99">
            <a:extLst>
              <a:ext uri="{FF2B5EF4-FFF2-40B4-BE49-F238E27FC236}">
                <a16:creationId xmlns:a16="http://schemas.microsoft.com/office/drawing/2014/main" id="{DF03C54A-FB6E-E034-3ED8-824BCA0E32FE}"/>
              </a:ext>
            </a:extLst>
          </p:cNvPr>
          <p:cNvSpPr/>
          <p:nvPr>
            <p:custDataLst>
              <p:tags r:id="rId4"/>
            </p:custDataLst>
          </p:nvPr>
        </p:nvSpPr>
        <p:spPr bwMode="auto">
          <a:xfrm>
            <a:off x="6369051" y="5232400"/>
            <a:ext cx="1794282" cy="2746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AEF365CD-CD9B-4748-BAC0-0DA35B79EF52}" type="datetime'''N''''o p''''la''n''''s ''t''''''o'''' ''''u''s''''e'' it'">
              <a:rPr lang="en-US" altLang="en-US" sz="1400" b="1" smtClean="0">
                <a:solidFill>
                  <a:schemeClr val="tx2"/>
                </a:solidFill>
              </a:rPr>
              <a:pPr>
                <a:spcBef>
                  <a:spcPct val="0"/>
                </a:spcBef>
                <a:spcAft>
                  <a:spcPct val="0"/>
                </a:spcAft>
              </a:pPr>
              <a:t>No plans to use it</a:t>
            </a:fld>
            <a:endParaRPr lang="en-GB" sz="1400" b="1" dirty="0">
              <a:solidFill>
                <a:schemeClr val="tx2"/>
              </a:solidFill>
            </a:endParaRPr>
          </a:p>
        </p:txBody>
      </p:sp>
      <p:sp>
        <p:nvSpPr>
          <p:cNvPr id="84" name="Rectangle 83">
            <a:extLst>
              <a:ext uri="{FF2B5EF4-FFF2-40B4-BE49-F238E27FC236}">
                <a16:creationId xmlns:a16="http://schemas.microsoft.com/office/drawing/2014/main" id="{ED3FEC5D-BAB3-79EB-5794-3867F4C53216}"/>
              </a:ext>
            </a:extLst>
          </p:cNvPr>
          <p:cNvSpPr/>
          <p:nvPr>
            <p:custDataLst>
              <p:tags r:id="rId5"/>
            </p:custDataLst>
          </p:nvPr>
        </p:nvSpPr>
        <p:spPr bwMode="auto">
          <a:xfrm>
            <a:off x="6369051" y="3409950"/>
            <a:ext cx="1537514"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C6A680F9-882E-478C-866D-8AD13F7D015A}" type="datetime'Pl''''an''''n''i''''''ng ''o''n ''us''i''''''ng'''''' i''t'">
              <a:rPr lang="en-GB" altLang="en-US" sz="1400" smtClean="0">
                <a:solidFill>
                  <a:schemeClr val="bg1"/>
                </a:solidFill>
              </a:rPr>
              <a:pPr>
                <a:spcBef>
                  <a:spcPct val="0"/>
                </a:spcBef>
                <a:spcAft>
                  <a:spcPct val="0"/>
                </a:spcAft>
              </a:pPr>
              <a:t>Planning on using it</a:t>
            </a:fld>
            <a:endParaRPr lang="en-GB" sz="1400" dirty="0">
              <a:solidFill>
                <a:schemeClr val="bg1"/>
              </a:solidFill>
            </a:endParaRPr>
          </a:p>
        </p:txBody>
      </p:sp>
      <p:sp>
        <p:nvSpPr>
          <p:cNvPr id="85" name="Rectangle 84">
            <a:extLst>
              <a:ext uri="{FF2B5EF4-FFF2-40B4-BE49-F238E27FC236}">
                <a16:creationId xmlns:a16="http://schemas.microsoft.com/office/drawing/2014/main" id="{8E5FB2BB-08B7-7D28-0647-4A6025E70947}"/>
              </a:ext>
            </a:extLst>
          </p:cNvPr>
          <p:cNvSpPr/>
          <p:nvPr>
            <p:custDataLst>
              <p:tags r:id="rId6"/>
            </p:custDataLst>
          </p:nvPr>
        </p:nvSpPr>
        <p:spPr bwMode="auto">
          <a:xfrm>
            <a:off x="6369051" y="4335463"/>
            <a:ext cx="154060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400" dirty="0">
                <a:solidFill>
                  <a:schemeClr val="bg1"/>
                </a:solidFill>
              </a:rPr>
              <a:t>Considering using it</a:t>
            </a:r>
            <a:endParaRPr lang="en-GB" sz="1400" dirty="0">
              <a:solidFill>
                <a:schemeClr val="bg1"/>
              </a:solidFill>
            </a:endParaRPr>
          </a:p>
        </p:txBody>
      </p:sp>
      <p:grpSp>
        <p:nvGrpSpPr>
          <p:cNvPr id="13" name="Group 12">
            <a:extLst>
              <a:ext uri="{FF2B5EF4-FFF2-40B4-BE49-F238E27FC236}">
                <a16:creationId xmlns:a16="http://schemas.microsoft.com/office/drawing/2014/main" id="{32E58401-560B-B8F3-740D-8C998C1D72FB}"/>
              </a:ext>
            </a:extLst>
          </p:cNvPr>
          <p:cNvGrpSpPr/>
          <p:nvPr/>
        </p:nvGrpSpPr>
        <p:grpSpPr>
          <a:xfrm>
            <a:off x="6369051" y="1195254"/>
            <a:ext cx="5212080" cy="457200"/>
            <a:chOff x="608203" y="1195254"/>
            <a:chExt cx="10981944" cy="502920"/>
          </a:xfrm>
        </p:grpSpPr>
        <p:cxnSp>
          <p:nvCxnSpPr>
            <p:cNvPr id="14" name="Straight Connector 13">
              <a:extLst>
                <a:ext uri="{FF2B5EF4-FFF2-40B4-BE49-F238E27FC236}">
                  <a16:creationId xmlns:a16="http://schemas.microsoft.com/office/drawing/2014/main" id="{AA9BE164-1FB5-1843-E14D-A4B51B6FC81E}"/>
                </a:ext>
              </a:extLst>
            </p:cNvPr>
            <p:cNvCxnSpPr>
              <a:cxnSpLocks/>
            </p:cNvCxnSpPr>
            <p:nvPr/>
          </p:nvCxnSpPr>
          <p:spPr>
            <a:xfrm>
              <a:off x="608203" y="1446714"/>
              <a:ext cx="10981944" cy="0"/>
            </a:xfrm>
            <a:prstGeom prst="line">
              <a:avLst/>
            </a:prstGeom>
            <a:ln w="9525">
              <a:solidFill>
                <a:srgbClr val="C4C4CD"/>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8920019-3E59-57B4-1134-426F0FC3BE42}"/>
                </a:ext>
              </a:extLst>
            </p:cNvPr>
            <p:cNvSpPr txBox="1"/>
            <p:nvPr/>
          </p:nvSpPr>
          <p:spPr>
            <a:xfrm>
              <a:off x="1937657" y="1195254"/>
              <a:ext cx="8323040" cy="50292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Aft>
                  <a:spcPts val="0"/>
                </a:spcAft>
                <a:buClrTx/>
                <a:buSzTx/>
                <a:buFontTx/>
                <a:buNone/>
                <a:tabLst/>
                <a:defRPr/>
              </a:pPr>
              <a:r>
                <a:rPr lang="en-IN" sz="1200" b="1" dirty="0">
                  <a:solidFill>
                    <a:schemeClr val="tx1">
                      <a:lumMod val="100000"/>
                    </a:schemeClr>
                  </a:solidFill>
                </a:rPr>
                <a:t>Plans to integrate generative AI into legal work</a:t>
              </a:r>
            </a:p>
            <a:p>
              <a:pPr marL="0" marR="0" lvl="0" indent="0" algn="ctr" defTabSz="914400" rtl="0" eaLnBrk="1" fontAlgn="auto" latinLnBrk="0" hangingPunct="1">
                <a:lnSpc>
                  <a:spcPct val="100000"/>
                </a:lnSpc>
                <a:spcAft>
                  <a:spcPts val="0"/>
                </a:spcAft>
                <a:buClrTx/>
                <a:buSzTx/>
                <a:buFontTx/>
                <a:buNone/>
                <a:tabLst/>
                <a:defRPr/>
              </a:pPr>
              <a:r>
                <a:rPr lang="en-IN" sz="1200" b="1" i="1" dirty="0">
                  <a:solidFill>
                    <a:schemeClr val="tx1">
                      <a:lumMod val="100000"/>
                    </a:schemeClr>
                  </a:solidFill>
                </a:rPr>
                <a:t>Percentage of law firms and in-house counsel </a:t>
              </a:r>
            </a:p>
          </p:txBody>
        </p:sp>
      </p:grpSp>
      <p:grpSp>
        <p:nvGrpSpPr>
          <p:cNvPr id="8" name="Group 7">
            <a:extLst>
              <a:ext uri="{FF2B5EF4-FFF2-40B4-BE49-F238E27FC236}">
                <a16:creationId xmlns:a16="http://schemas.microsoft.com/office/drawing/2014/main" id="{BB5D32E5-9EB6-C2FA-7559-E899CA4AE9EC}"/>
              </a:ext>
            </a:extLst>
          </p:cNvPr>
          <p:cNvGrpSpPr/>
          <p:nvPr/>
        </p:nvGrpSpPr>
        <p:grpSpPr>
          <a:xfrm>
            <a:off x="608015" y="1195254"/>
            <a:ext cx="5169673" cy="457200"/>
            <a:chOff x="608203" y="1195254"/>
            <a:chExt cx="10981944" cy="502920"/>
          </a:xfrm>
        </p:grpSpPr>
        <p:cxnSp>
          <p:nvCxnSpPr>
            <p:cNvPr id="11" name="Straight Connector 10">
              <a:extLst>
                <a:ext uri="{FF2B5EF4-FFF2-40B4-BE49-F238E27FC236}">
                  <a16:creationId xmlns:a16="http://schemas.microsoft.com/office/drawing/2014/main" id="{06877361-6210-EB07-ED43-F56E77A129D4}"/>
                </a:ext>
              </a:extLst>
            </p:cNvPr>
            <p:cNvCxnSpPr>
              <a:cxnSpLocks/>
            </p:cNvCxnSpPr>
            <p:nvPr/>
          </p:nvCxnSpPr>
          <p:spPr>
            <a:xfrm>
              <a:off x="608203" y="1446714"/>
              <a:ext cx="10981944" cy="0"/>
            </a:xfrm>
            <a:prstGeom prst="line">
              <a:avLst/>
            </a:prstGeom>
            <a:ln w="9525">
              <a:solidFill>
                <a:srgbClr val="C4C4CD"/>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C86704C-6EDB-EABC-2A97-EDC790BBB29C}"/>
                </a:ext>
              </a:extLst>
            </p:cNvPr>
            <p:cNvSpPr txBox="1"/>
            <p:nvPr/>
          </p:nvSpPr>
          <p:spPr>
            <a:xfrm>
              <a:off x="1937657" y="1195254"/>
              <a:ext cx="8323040" cy="50292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Aft>
                  <a:spcPts val="0"/>
                </a:spcAft>
                <a:buClrTx/>
                <a:buSzTx/>
                <a:buFontTx/>
                <a:buNone/>
                <a:tabLst/>
                <a:defRPr/>
              </a:pPr>
              <a:r>
                <a:rPr lang="en-IN" sz="1200" b="1" dirty="0">
                  <a:solidFill>
                    <a:schemeClr val="tx1">
                      <a:lumMod val="100000"/>
                    </a:schemeClr>
                  </a:solidFill>
                </a:rPr>
                <a:t>Can generative AI be applied to legal work?</a:t>
              </a:r>
            </a:p>
            <a:p>
              <a:pPr marL="0" marR="0" lvl="0" indent="0" algn="ctr" defTabSz="914400" rtl="0" eaLnBrk="1" fontAlgn="auto" latinLnBrk="0" hangingPunct="1">
                <a:lnSpc>
                  <a:spcPct val="100000"/>
                </a:lnSpc>
                <a:spcAft>
                  <a:spcPts val="0"/>
                </a:spcAft>
                <a:buClrTx/>
                <a:buSzTx/>
                <a:buFontTx/>
                <a:buNone/>
                <a:tabLst/>
                <a:defRPr/>
              </a:pPr>
              <a:r>
                <a:rPr lang="en-IN" sz="1200" b="1" i="1" dirty="0">
                  <a:solidFill>
                    <a:schemeClr val="tx1">
                      <a:lumMod val="100000"/>
                    </a:schemeClr>
                  </a:solidFill>
                </a:rPr>
                <a:t>Percentage who replied “Yes”</a:t>
              </a:r>
            </a:p>
          </p:txBody>
        </p:sp>
      </p:grpSp>
      <p:graphicFrame>
        <p:nvGraphicFramePr>
          <p:cNvPr id="160" name="Chart 159">
            <a:extLst>
              <a:ext uri="{FF2B5EF4-FFF2-40B4-BE49-F238E27FC236}">
                <a16:creationId xmlns:a16="http://schemas.microsoft.com/office/drawing/2014/main" id="{631D7139-CC22-5CF1-16D5-C94A80554022}"/>
              </a:ext>
            </a:extLst>
          </p:cNvPr>
          <p:cNvGraphicFramePr/>
          <p:nvPr>
            <p:custDataLst>
              <p:tags r:id="rId7"/>
            </p:custDataLst>
            <p:extLst>
              <p:ext uri="{D42A27DB-BD31-4B8C-83A1-F6EECF244321}">
                <p14:modId xmlns:p14="http://schemas.microsoft.com/office/powerpoint/2010/main" val="2297683539"/>
              </p:ext>
            </p:extLst>
          </p:nvPr>
        </p:nvGraphicFramePr>
        <p:xfrm>
          <a:off x="2370632" y="2152779"/>
          <a:ext cx="1633642" cy="1690386"/>
        </p:xfrm>
        <a:graphic>
          <a:graphicData uri="http://schemas.openxmlformats.org/drawingml/2006/chart">
            <c:chart xmlns:c="http://schemas.openxmlformats.org/drawingml/2006/chart" xmlns:r="http://schemas.openxmlformats.org/officeDocument/2006/relationships" r:id="rId13"/>
          </a:graphicData>
        </a:graphic>
      </p:graphicFrame>
      <p:sp>
        <p:nvSpPr>
          <p:cNvPr id="34" name="TextBox 33">
            <a:extLst>
              <a:ext uri="{FF2B5EF4-FFF2-40B4-BE49-F238E27FC236}">
                <a16:creationId xmlns:a16="http://schemas.microsoft.com/office/drawing/2014/main" id="{098CFBF9-F011-1495-29A7-3B7DBCA22E16}"/>
              </a:ext>
            </a:extLst>
          </p:cNvPr>
          <p:cNvSpPr txBox="1"/>
          <p:nvPr/>
        </p:nvSpPr>
        <p:spPr>
          <a:xfrm>
            <a:off x="602616" y="1755891"/>
            <a:ext cx="5169673" cy="365624"/>
          </a:xfrm>
          <a:prstGeom prst="rect">
            <a:avLst/>
          </a:prstGeom>
          <a:noFill/>
          <a:ln>
            <a:solidFill>
              <a:schemeClr val="bg1"/>
            </a:solidFill>
          </a:ln>
        </p:spPr>
        <p:txBody>
          <a:bodyPr wrap="square" lIns="45720" tIns="45720" rIns="45720" bIns="45720" rtlCol="0" anchor="ctr">
            <a:noAutofit/>
          </a:bodyPr>
          <a:lstStyle/>
          <a:p>
            <a:pPr algn="ctr">
              <a:lnSpc>
                <a:spcPct val="85000"/>
              </a:lnSpc>
              <a:buClr>
                <a:schemeClr val="accent2"/>
              </a:buClr>
              <a:buSzPct val="70000"/>
            </a:pPr>
            <a:r>
              <a:rPr lang="en-US" sz="1600" b="1" dirty="0">
                <a:solidFill>
                  <a:schemeClr val="bg1"/>
                </a:solidFill>
              </a:rPr>
              <a:t>Law firm lawyers</a:t>
            </a:r>
            <a:endParaRPr lang="en-IN" sz="1600" i="1" dirty="0">
              <a:solidFill>
                <a:schemeClr val="bg1"/>
              </a:solidFill>
            </a:endParaRPr>
          </a:p>
        </p:txBody>
      </p:sp>
      <p:sp>
        <p:nvSpPr>
          <p:cNvPr id="42" name="TextBox 41">
            <a:extLst>
              <a:ext uri="{FF2B5EF4-FFF2-40B4-BE49-F238E27FC236}">
                <a16:creationId xmlns:a16="http://schemas.microsoft.com/office/drawing/2014/main" id="{981E30DA-4111-D009-4E64-73AA8AD0E186}"/>
              </a:ext>
            </a:extLst>
          </p:cNvPr>
          <p:cNvSpPr txBox="1"/>
          <p:nvPr/>
        </p:nvSpPr>
        <p:spPr>
          <a:xfrm>
            <a:off x="609675" y="3874429"/>
            <a:ext cx="5205021" cy="365624"/>
          </a:xfrm>
          <a:prstGeom prst="rect">
            <a:avLst/>
          </a:prstGeom>
          <a:noFill/>
          <a:ln>
            <a:solidFill>
              <a:schemeClr val="bg1"/>
            </a:solidFill>
          </a:ln>
        </p:spPr>
        <p:txBody>
          <a:bodyPr wrap="square" lIns="45720" tIns="45720" rIns="45720" bIns="45720" rtlCol="0" anchor="ctr">
            <a:noAutofit/>
          </a:bodyPr>
          <a:lstStyle/>
          <a:p>
            <a:pPr algn="ctr">
              <a:lnSpc>
                <a:spcPct val="85000"/>
              </a:lnSpc>
              <a:buClr>
                <a:schemeClr val="accent2"/>
              </a:buClr>
              <a:buSzPct val="70000"/>
            </a:pPr>
            <a:r>
              <a:rPr lang="en-US" sz="1600" b="1" dirty="0">
                <a:solidFill>
                  <a:schemeClr val="bg1"/>
                </a:solidFill>
              </a:rPr>
              <a:t>In-house counsel lawyers</a:t>
            </a:r>
            <a:endParaRPr lang="en-IN" sz="1600" i="1" dirty="0">
              <a:solidFill>
                <a:schemeClr val="bg1"/>
              </a:solidFill>
            </a:endParaRPr>
          </a:p>
        </p:txBody>
      </p:sp>
      <p:graphicFrame>
        <p:nvGraphicFramePr>
          <p:cNvPr id="161" name="Chart 160">
            <a:extLst>
              <a:ext uri="{FF2B5EF4-FFF2-40B4-BE49-F238E27FC236}">
                <a16:creationId xmlns:a16="http://schemas.microsoft.com/office/drawing/2014/main" id="{C71152F6-75BD-8376-0A38-55520A9238B2}"/>
              </a:ext>
            </a:extLst>
          </p:cNvPr>
          <p:cNvGraphicFramePr/>
          <p:nvPr>
            <p:custDataLst>
              <p:tags r:id="rId8"/>
            </p:custDataLst>
            <p:extLst>
              <p:ext uri="{D42A27DB-BD31-4B8C-83A1-F6EECF244321}">
                <p14:modId xmlns:p14="http://schemas.microsoft.com/office/powerpoint/2010/main" val="686103537"/>
              </p:ext>
            </p:extLst>
          </p:nvPr>
        </p:nvGraphicFramePr>
        <p:xfrm>
          <a:off x="2370632" y="4271317"/>
          <a:ext cx="1633642" cy="1690386"/>
        </p:xfrm>
        <a:graphic>
          <a:graphicData uri="http://schemas.openxmlformats.org/drawingml/2006/chart">
            <c:chart xmlns:c="http://schemas.openxmlformats.org/drawingml/2006/chart" xmlns:r="http://schemas.openxmlformats.org/officeDocument/2006/relationships" r:id="rId14"/>
          </a:graphicData>
        </a:graphic>
      </p:graphicFrame>
      <p:grpSp>
        <p:nvGrpSpPr>
          <p:cNvPr id="20" name="Group 19">
            <a:extLst>
              <a:ext uri="{FF2B5EF4-FFF2-40B4-BE49-F238E27FC236}">
                <a16:creationId xmlns:a16="http://schemas.microsoft.com/office/drawing/2014/main" id="{AC64687F-41F8-085C-C522-D74298C7EB24}"/>
              </a:ext>
            </a:extLst>
          </p:cNvPr>
          <p:cNvGrpSpPr/>
          <p:nvPr/>
        </p:nvGrpSpPr>
        <p:grpSpPr>
          <a:xfrm>
            <a:off x="4226872" y="2614433"/>
            <a:ext cx="1141581" cy="767079"/>
            <a:chOff x="4352759" y="2754634"/>
            <a:chExt cx="1181233" cy="767079"/>
          </a:xfrm>
        </p:grpSpPr>
        <p:sp>
          <p:nvSpPr>
            <p:cNvPr id="76" name="TextBox 75">
              <a:extLst>
                <a:ext uri="{FF2B5EF4-FFF2-40B4-BE49-F238E27FC236}">
                  <a16:creationId xmlns:a16="http://schemas.microsoft.com/office/drawing/2014/main" id="{3755420F-C8B9-05CC-3ADE-4C251EF308D4}"/>
                </a:ext>
              </a:extLst>
            </p:cNvPr>
            <p:cNvSpPr txBox="1"/>
            <p:nvPr/>
          </p:nvSpPr>
          <p:spPr>
            <a:xfrm>
              <a:off x="4352759" y="2823732"/>
              <a:ext cx="1181233" cy="628884"/>
            </a:xfrm>
            <a:prstGeom prst="rect">
              <a:avLst/>
            </a:prstGeom>
            <a:noFill/>
          </p:spPr>
          <p:txBody>
            <a:bodyPr wrap="square" lIns="91440" tIns="91440" rIns="91440" bIns="91440" rtlCol="0" anchor="ctr">
              <a:noAutofit/>
            </a:bodyPr>
            <a:lstStyle/>
            <a:p>
              <a:pPr algn="ctr">
                <a:lnSpc>
                  <a:spcPct val="85000"/>
                </a:lnSpc>
                <a:spcAft>
                  <a:spcPts val="600"/>
                </a:spcAft>
                <a:buClr>
                  <a:schemeClr val="accent2"/>
                </a:buClr>
                <a:buSzPct val="70000"/>
              </a:pPr>
              <a:r>
                <a:rPr lang="en-GB" sz="3600" b="1" dirty="0">
                  <a:solidFill>
                    <a:schemeClr val="tx2"/>
                  </a:solidFill>
                </a:rPr>
                <a:t>82%</a:t>
              </a:r>
            </a:p>
          </p:txBody>
        </p:sp>
        <p:sp>
          <p:nvSpPr>
            <p:cNvPr id="16" name="Rectangle 15">
              <a:extLst>
                <a:ext uri="{FF2B5EF4-FFF2-40B4-BE49-F238E27FC236}">
                  <a16:creationId xmlns:a16="http://schemas.microsoft.com/office/drawing/2014/main" id="{00BFACD7-5AA1-2B52-19C6-3CCD56AD9707}"/>
                </a:ext>
              </a:extLst>
            </p:cNvPr>
            <p:cNvSpPr/>
            <p:nvPr/>
          </p:nvSpPr>
          <p:spPr>
            <a:xfrm>
              <a:off x="4509795" y="3475994"/>
              <a:ext cx="867160" cy="45719"/>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8" name="Rectangle 17">
              <a:extLst>
                <a:ext uri="{FF2B5EF4-FFF2-40B4-BE49-F238E27FC236}">
                  <a16:creationId xmlns:a16="http://schemas.microsoft.com/office/drawing/2014/main" id="{E09DF7CF-8389-35B1-FD4D-9E879D38F505}"/>
                </a:ext>
              </a:extLst>
            </p:cNvPr>
            <p:cNvSpPr/>
            <p:nvPr/>
          </p:nvSpPr>
          <p:spPr>
            <a:xfrm>
              <a:off x="4509795" y="2754634"/>
              <a:ext cx="867160" cy="45719"/>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grpSp>
        <p:nvGrpSpPr>
          <p:cNvPr id="22" name="Group 21">
            <a:extLst>
              <a:ext uri="{FF2B5EF4-FFF2-40B4-BE49-F238E27FC236}">
                <a16:creationId xmlns:a16="http://schemas.microsoft.com/office/drawing/2014/main" id="{5DAC546F-0742-D974-A26F-EFD19148C9AE}"/>
              </a:ext>
            </a:extLst>
          </p:cNvPr>
          <p:cNvGrpSpPr/>
          <p:nvPr/>
        </p:nvGrpSpPr>
        <p:grpSpPr>
          <a:xfrm>
            <a:off x="4226872" y="4732971"/>
            <a:ext cx="1141581" cy="767079"/>
            <a:chOff x="4352759" y="2754634"/>
            <a:chExt cx="1181233" cy="767079"/>
          </a:xfrm>
        </p:grpSpPr>
        <p:sp>
          <p:nvSpPr>
            <p:cNvPr id="23" name="TextBox 22">
              <a:extLst>
                <a:ext uri="{FF2B5EF4-FFF2-40B4-BE49-F238E27FC236}">
                  <a16:creationId xmlns:a16="http://schemas.microsoft.com/office/drawing/2014/main" id="{BF870092-6B47-9CD8-01BD-0004BD93628B}"/>
                </a:ext>
              </a:extLst>
            </p:cNvPr>
            <p:cNvSpPr txBox="1"/>
            <p:nvPr/>
          </p:nvSpPr>
          <p:spPr>
            <a:xfrm>
              <a:off x="4352759" y="2823732"/>
              <a:ext cx="1181233" cy="628884"/>
            </a:xfrm>
            <a:prstGeom prst="rect">
              <a:avLst/>
            </a:prstGeom>
            <a:noFill/>
          </p:spPr>
          <p:txBody>
            <a:bodyPr wrap="square" lIns="91440" tIns="91440" rIns="91440" bIns="91440" rtlCol="0" anchor="ctr">
              <a:noAutofit/>
            </a:bodyPr>
            <a:lstStyle/>
            <a:p>
              <a:pPr algn="ctr">
                <a:lnSpc>
                  <a:spcPct val="85000"/>
                </a:lnSpc>
                <a:spcAft>
                  <a:spcPts val="600"/>
                </a:spcAft>
                <a:buClr>
                  <a:schemeClr val="accent2"/>
                </a:buClr>
                <a:buSzPct val="70000"/>
              </a:pPr>
              <a:r>
                <a:rPr lang="en-GB" sz="3600" b="1" dirty="0">
                  <a:solidFill>
                    <a:schemeClr val="tx2"/>
                  </a:solidFill>
                </a:rPr>
                <a:t>82%</a:t>
              </a:r>
            </a:p>
          </p:txBody>
        </p:sp>
        <p:sp>
          <p:nvSpPr>
            <p:cNvPr id="24" name="Rectangle 23">
              <a:extLst>
                <a:ext uri="{FF2B5EF4-FFF2-40B4-BE49-F238E27FC236}">
                  <a16:creationId xmlns:a16="http://schemas.microsoft.com/office/drawing/2014/main" id="{3E9FCCF6-610D-E6F5-6992-12956ED3D07E}"/>
                </a:ext>
              </a:extLst>
            </p:cNvPr>
            <p:cNvSpPr/>
            <p:nvPr/>
          </p:nvSpPr>
          <p:spPr>
            <a:xfrm>
              <a:off x="4509795" y="3475994"/>
              <a:ext cx="867160" cy="45719"/>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5" name="Rectangle 24">
              <a:extLst>
                <a:ext uri="{FF2B5EF4-FFF2-40B4-BE49-F238E27FC236}">
                  <a16:creationId xmlns:a16="http://schemas.microsoft.com/office/drawing/2014/main" id="{1FAB50C0-DCF7-68CA-FB89-BC0C1FD5D091}"/>
                </a:ext>
              </a:extLst>
            </p:cNvPr>
            <p:cNvSpPr/>
            <p:nvPr/>
          </p:nvSpPr>
          <p:spPr>
            <a:xfrm>
              <a:off x="4509795" y="2754634"/>
              <a:ext cx="867160" cy="45719"/>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sp>
        <p:nvSpPr>
          <p:cNvPr id="26" name="TextBox 25">
            <a:extLst>
              <a:ext uri="{FF2B5EF4-FFF2-40B4-BE49-F238E27FC236}">
                <a16:creationId xmlns:a16="http://schemas.microsoft.com/office/drawing/2014/main" id="{7D42C9ED-774C-B815-DA40-CCD71E32082E}"/>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a:t>
            </a:r>
            <a:r>
              <a:rPr lang="en-IN" sz="800" dirty="0" err="1">
                <a:solidFill>
                  <a:schemeClr val="bg1"/>
                </a:solidFill>
              </a:rPr>
              <a:t>ChatGPT</a:t>
            </a:r>
            <a:r>
              <a:rPr lang="en-IN" sz="800" dirty="0">
                <a:solidFill>
                  <a:schemeClr val="bg1"/>
                </a:solidFill>
              </a:rPr>
              <a:t> and Generative AI in Legal, Corporate &amp; Tax Markets,” </a:t>
            </a:r>
            <a:r>
              <a:rPr lang="en-IN" sz="800" i="1" dirty="0">
                <a:solidFill>
                  <a:schemeClr val="bg1"/>
                </a:solidFill>
              </a:rPr>
              <a:t>Thomson Reuters</a:t>
            </a:r>
            <a:r>
              <a:rPr lang="en-IN" sz="800" dirty="0">
                <a:solidFill>
                  <a:schemeClr val="bg1"/>
                </a:solidFill>
              </a:rPr>
              <a:t>, 2023.</a:t>
            </a:r>
          </a:p>
        </p:txBody>
      </p:sp>
    </p:spTree>
    <p:extLst>
      <p:ext uri="{BB962C8B-B14F-4D97-AF65-F5344CB8AC3E}">
        <p14:creationId xmlns:p14="http://schemas.microsoft.com/office/powerpoint/2010/main" val="14471108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Arc 31">
            <a:extLst>
              <a:ext uri="{FF2B5EF4-FFF2-40B4-BE49-F238E27FC236}">
                <a16:creationId xmlns:a16="http://schemas.microsoft.com/office/drawing/2014/main" id="{2C2A0C45-8F86-B2FE-6C6C-CE8DA38E0089}"/>
              </a:ext>
            </a:extLst>
          </p:cNvPr>
          <p:cNvSpPr/>
          <p:nvPr/>
        </p:nvSpPr>
        <p:spPr>
          <a:xfrm>
            <a:off x="609920" y="1485948"/>
            <a:ext cx="2103120" cy="2103120"/>
          </a:xfrm>
          <a:prstGeom prst="arc">
            <a:avLst>
              <a:gd name="adj1" fmla="val 13470072"/>
              <a:gd name="adj2" fmla="val 19042005"/>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p>
        </p:txBody>
      </p:sp>
      <p:graphicFrame>
        <p:nvGraphicFramePr>
          <p:cNvPr id="9" name="Object 8" hidden="1">
            <a:extLst>
              <a:ext uri="{FF2B5EF4-FFF2-40B4-BE49-F238E27FC236}">
                <a16:creationId xmlns:a16="http://schemas.microsoft.com/office/drawing/2014/main" id="{E74D3F3E-F39E-D430-E7A7-93C7128858D6}"/>
              </a:ext>
            </a:extLst>
          </p:cNvPr>
          <p:cNvGraphicFramePr>
            <a:graphicFrameLocks noChangeAspect="1"/>
          </p:cNvGraphicFramePr>
          <p:nvPr>
            <p:custDataLst>
              <p:tags r:id="rId1"/>
            </p:custDataLst>
            <p:extLst>
              <p:ext uri="{D42A27DB-BD31-4B8C-83A1-F6EECF244321}">
                <p14:modId xmlns:p14="http://schemas.microsoft.com/office/powerpoint/2010/main" val="1633420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9" name="Object 8" hidden="1">
                        <a:extLst>
                          <a:ext uri="{FF2B5EF4-FFF2-40B4-BE49-F238E27FC236}">
                            <a16:creationId xmlns:a16="http://schemas.microsoft.com/office/drawing/2014/main" id="{E74D3F3E-F39E-D430-E7A7-93C7128858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3D4CBD-311E-227E-861C-488FE09483A9}"/>
              </a:ext>
            </a:extLst>
          </p:cNvPr>
          <p:cNvSpPr>
            <a:spLocks noGrp="1"/>
          </p:cNvSpPr>
          <p:nvPr>
            <p:ph type="title"/>
          </p:nvPr>
        </p:nvSpPr>
        <p:spPr>
          <a:xfrm>
            <a:off x="609920" y="294200"/>
            <a:ext cx="10978515" cy="590400"/>
          </a:xfrm>
        </p:spPr>
        <p:txBody>
          <a:bodyPr anchor="t" anchorCtr="0"/>
          <a:lstStyle/>
          <a:p>
            <a:r>
              <a:rPr lang="en-GB" dirty="0"/>
              <a:t>Five issues to consider as we think about AI’s impact on law</a:t>
            </a:r>
          </a:p>
        </p:txBody>
      </p:sp>
      <p:sp>
        <p:nvSpPr>
          <p:cNvPr id="4" name="TextBox 71">
            <a:extLst>
              <a:ext uri="{FF2B5EF4-FFF2-40B4-BE49-F238E27FC236}">
                <a16:creationId xmlns:a16="http://schemas.microsoft.com/office/drawing/2014/main" id="{22CBB462-BE49-34DD-269A-73E8775FA9FB}"/>
              </a:ext>
            </a:extLst>
          </p:cNvPr>
          <p:cNvSpPr txBox="1"/>
          <p:nvPr/>
        </p:nvSpPr>
        <p:spPr>
          <a:xfrm>
            <a:off x="609920" y="4106333"/>
            <a:ext cx="2103120" cy="1933587"/>
          </a:xfrm>
          <a:prstGeom prst="rect">
            <a:avLst/>
          </a:prstGeom>
          <a:noFill/>
          <a:ln>
            <a:solidFill>
              <a:schemeClr val="bg1"/>
            </a:solidFill>
          </a:ln>
        </p:spPr>
        <p:txBody>
          <a:bodyPr wrap="square" lIns="45720" rIns="4572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44600" rtl="0" eaLnBrk="1" fontAlgn="auto" latinLnBrk="0" hangingPunct="1">
              <a:lnSpc>
                <a:spcPct val="100000"/>
              </a:lnSpc>
              <a:spcAft>
                <a:spcPts val="600"/>
              </a:spcAft>
              <a:buClrTx/>
              <a:buSzTx/>
              <a:buFontTx/>
              <a:buNone/>
              <a:tabLst/>
              <a:defRPr/>
            </a:pPr>
            <a:r>
              <a:rPr kumimoji="0" lang="en-GB" b="1" i="0" u="none" strike="noStrike" kern="1200" cap="none" normalizeH="0" baseline="0" noProof="0" dirty="0">
                <a:ln>
                  <a:noFill/>
                </a:ln>
                <a:solidFill>
                  <a:schemeClr val="bg1"/>
                </a:solidFill>
                <a:effectLst/>
                <a:uLnTx/>
                <a:uFillTx/>
                <a:ea typeface="+mn-ea"/>
                <a:cs typeface="+mn-cs"/>
              </a:rPr>
              <a:t>The hype cycle</a:t>
            </a:r>
            <a:br>
              <a:rPr kumimoji="0" lang="en-GB" b="1" i="0" u="none" strike="noStrike" kern="1200" cap="none" normalizeH="0" baseline="0" noProof="0" dirty="0">
                <a:ln>
                  <a:noFill/>
                </a:ln>
                <a:solidFill>
                  <a:schemeClr val="bg1"/>
                </a:solidFill>
                <a:effectLst/>
                <a:uLnTx/>
                <a:uFillTx/>
                <a:ea typeface="+mn-ea"/>
                <a:cs typeface="+mn-cs"/>
              </a:rPr>
            </a:br>
            <a:endParaRPr kumimoji="0" lang="en-GB" b="1" i="0" u="none" strike="noStrike" kern="1200" cap="none" normalizeH="0" baseline="0" noProof="0" dirty="0">
              <a:ln>
                <a:noFill/>
              </a:ln>
              <a:solidFill>
                <a:schemeClr val="bg1"/>
              </a:solidFill>
              <a:effectLst/>
              <a:uLnTx/>
              <a:uFillTx/>
              <a:ea typeface="+mn-ea"/>
              <a:cs typeface="+mn-cs"/>
            </a:endParaRPr>
          </a:p>
          <a:p>
            <a:pPr algn="ctr" defTabSz="1244600">
              <a:spcAft>
                <a:spcPts val="600"/>
              </a:spcAft>
              <a:defRPr/>
            </a:pPr>
            <a:r>
              <a:rPr lang="en-GB" dirty="0">
                <a:solidFill>
                  <a:schemeClr val="bg1"/>
                </a:solidFill>
              </a:rPr>
              <a:t>And where we are in that journey</a:t>
            </a:r>
          </a:p>
        </p:txBody>
      </p:sp>
      <p:sp>
        <p:nvSpPr>
          <p:cNvPr id="7" name="Oval 6">
            <a:extLst>
              <a:ext uri="{FF2B5EF4-FFF2-40B4-BE49-F238E27FC236}">
                <a16:creationId xmlns:a16="http://schemas.microsoft.com/office/drawing/2014/main" id="{F1E11A86-0876-BCCE-DDCC-CFFCB0D4F4CD}"/>
              </a:ext>
            </a:extLst>
          </p:cNvPr>
          <p:cNvSpPr/>
          <p:nvPr/>
        </p:nvSpPr>
        <p:spPr>
          <a:xfrm>
            <a:off x="2928467" y="1647279"/>
            <a:ext cx="1903724" cy="1903724"/>
          </a:xfrm>
          <a:prstGeom prst="ellipse">
            <a:avLst/>
          </a:prstGeom>
          <a:blipFill>
            <a:blip r:embed="rId5"/>
            <a:srcRect/>
            <a:stretch>
              <a:fillRect l="-50574" t="-44734" b="-584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6BEDC4BF-B8A6-2798-6219-FB4BFC238276}"/>
              </a:ext>
            </a:extLst>
          </p:cNvPr>
          <p:cNvSpPr/>
          <p:nvPr/>
        </p:nvSpPr>
        <p:spPr>
          <a:xfrm>
            <a:off x="709618" y="1647279"/>
            <a:ext cx="1903724" cy="1903724"/>
          </a:xfrm>
          <a:prstGeom prst="ellipse">
            <a:avLst/>
          </a:prstGeom>
          <a:blipFill>
            <a:blip r:embed="rId6"/>
            <a:srcRect/>
            <a:stretch>
              <a:fillRect l="-37052" t="-23762" r="-54400" b="-2376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97EC4ACB-92B2-56AB-B56E-928CDE5EA870}"/>
              </a:ext>
            </a:extLst>
          </p:cNvPr>
          <p:cNvSpPr/>
          <p:nvPr/>
        </p:nvSpPr>
        <p:spPr>
          <a:xfrm>
            <a:off x="7366165" y="1647279"/>
            <a:ext cx="1903724" cy="1903724"/>
          </a:xfrm>
          <a:prstGeom prst="ellipse">
            <a:avLst/>
          </a:prstGeom>
          <a:blipFill>
            <a:blip r:embed="rId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1E21822E-4F49-36CF-9082-59F686C94476}"/>
              </a:ext>
            </a:extLst>
          </p:cNvPr>
          <p:cNvSpPr/>
          <p:nvPr/>
        </p:nvSpPr>
        <p:spPr>
          <a:xfrm>
            <a:off x="9585013" y="1647279"/>
            <a:ext cx="1903724" cy="1903724"/>
          </a:xfrm>
          <a:prstGeom prst="ellipse">
            <a:avLst/>
          </a:prstGeom>
          <a:blipFill>
            <a:blip r:embed="rId8"/>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TextBox 19">
            <a:extLst>
              <a:ext uri="{FF2B5EF4-FFF2-40B4-BE49-F238E27FC236}">
                <a16:creationId xmlns:a16="http://schemas.microsoft.com/office/drawing/2014/main" id="{E55A11A0-5092-BCFC-F10B-15F238852BDF}"/>
              </a:ext>
            </a:extLst>
          </p:cNvPr>
          <p:cNvSpPr txBox="1"/>
          <p:nvPr/>
        </p:nvSpPr>
        <p:spPr>
          <a:xfrm>
            <a:off x="2828769" y="4106333"/>
            <a:ext cx="2103120" cy="1933587"/>
          </a:xfrm>
          <a:prstGeom prst="rect">
            <a:avLst/>
          </a:prstGeom>
          <a:noFill/>
          <a:ln>
            <a:solidFill>
              <a:schemeClr val="bg1"/>
            </a:solidFill>
          </a:ln>
        </p:spPr>
        <p:txBody>
          <a:bodyPr wrap="square" lIns="45720" rIns="4572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44600" rtl="0" eaLnBrk="1" fontAlgn="auto" latinLnBrk="0" hangingPunct="1">
              <a:lnSpc>
                <a:spcPct val="100000"/>
              </a:lnSpc>
              <a:spcBef>
                <a:spcPts val="0"/>
              </a:spcBef>
              <a:spcAft>
                <a:spcPts val="600"/>
              </a:spcAft>
              <a:buClrTx/>
              <a:buSzTx/>
              <a:buFontTx/>
              <a:buNone/>
              <a:tabLst/>
              <a:defRPr/>
            </a:pPr>
            <a:r>
              <a:rPr lang="en-GB" b="1" dirty="0">
                <a:solidFill>
                  <a:schemeClr val="bg1"/>
                </a:solidFill>
              </a:rPr>
              <a:t>What AI is good at</a:t>
            </a:r>
            <a:br>
              <a:rPr lang="en-GB" b="1" dirty="0">
                <a:solidFill>
                  <a:schemeClr val="bg1"/>
                </a:solidFill>
              </a:rPr>
            </a:br>
            <a:endParaRPr lang="en-GB" b="1" dirty="0">
              <a:solidFill>
                <a:schemeClr val="bg1"/>
              </a:solidFill>
            </a:endParaRPr>
          </a:p>
          <a:p>
            <a:pPr marL="0" marR="0" lvl="0" indent="0" algn="ctr" defTabSz="1244600" rtl="0" eaLnBrk="1" fontAlgn="auto" latinLnBrk="0" hangingPunct="1">
              <a:lnSpc>
                <a:spcPct val="100000"/>
              </a:lnSpc>
              <a:spcBef>
                <a:spcPts val="0"/>
              </a:spcBef>
              <a:spcAft>
                <a:spcPts val="600"/>
              </a:spcAft>
              <a:buClrTx/>
              <a:buSzTx/>
              <a:buFontTx/>
              <a:buNone/>
              <a:tabLst/>
              <a:defRPr/>
            </a:pPr>
            <a:r>
              <a:rPr lang="en-GB" dirty="0">
                <a:solidFill>
                  <a:schemeClr val="bg1"/>
                </a:solidFill>
              </a:rPr>
              <a:t>And what it isn’t … at least for now</a:t>
            </a:r>
          </a:p>
        </p:txBody>
      </p:sp>
      <p:sp>
        <p:nvSpPr>
          <p:cNvPr id="14" name="TextBox 20">
            <a:extLst>
              <a:ext uri="{FF2B5EF4-FFF2-40B4-BE49-F238E27FC236}">
                <a16:creationId xmlns:a16="http://schemas.microsoft.com/office/drawing/2014/main" id="{7F066E8B-2338-8BC7-DBD9-F24FE3731A95}"/>
              </a:ext>
            </a:extLst>
          </p:cNvPr>
          <p:cNvSpPr txBox="1"/>
          <p:nvPr/>
        </p:nvSpPr>
        <p:spPr>
          <a:xfrm>
            <a:off x="5047618" y="4106333"/>
            <a:ext cx="2103120" cy="1933587"/>
          </a:xfrm>
          <a:prstGeom prst="rect">
            <a:avLst/>
          </a:prstGeom>
          <a:noFill/>
          <a:ln>
            <a:solidFill>
              <a:schemeClr val="bg1"/>
            </a:solidFill>
          </a:ln>
        </p:spPr>
        <p:txBody>
          <a:bodyPr wrap="square" lIns="45720" rIns="4572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44600" rtl="0" eaLnBrk="1" fontAlgn="auto" latinLnBrk="0" hangingPunct="1">
              <a:lnSpc>
                <a:spcPct val="100000"/>
              </a:lnSpc>
              <a:spcBef>
                <a:spcPts val="0"/>
              </a:spcBef>
              <a:spcAft>
                <a:spcPts val="600"/>
              </a:spcAft>
              <a:buClrTx/>
              <a:buSzTx/>
              <a:buFontTx/>
              <a:buNone/>
              <a:tabLst/>
              <a:defRPr/>
            </a:pPr>
            <a:r>
              <a:rPr kumimoji="0" lang="en-GB" b="1" i="0" u="none" strike="noStrike" kern="1200" cap="none" normalizeH="0" baseline="0" noProof="0" dirty="0">
                <a:ln>
                  <a:noFill/>
                </a:ln>
                <a:solidFill>
                  <a:schemeClr val="bg1"/>
                </a:solidFill>
                <a:effectLst/>
                <a:uLnTx/>
                <a:uFillTx/>
                <a:ea typeface="+mn-ea"/>
                <a:cs typeface="+mn-cs"/>
              </a:rPr>
              <a:t>The history of </a:t>
            </a:r>
            <a:r>
              <a:rPr lang="en-GB" b="1" dirty="0">
                <a:solidFill>
                  <a:schemeClr val="bg1"/>
                </a:solidFill>
              </a:rPr>
              <a:t>l</a:t>
            </a:r>
            <a:r>
              <a:rPr kumimoji="0" lang="en-GB" b="1" i="0" u="none" strike="noStrike" kern="1200" cap="none" normalizeH="0" baseline="0" noProof="0" dirty="0">
                <a:ln>
                  <a:noFill/>
                </a:ln>
                <a:solidFill>
                  <a:schemeClr val="bg1"/>
                </a:solidFill>
                <a:effectLst/>
                <a:uLnTx/>
                <a:uFillTx/>
                <a:ea typeface="+mn-ea"/>
                <a:cs typeface="+mn-cs"/>
              </a:rPr>
              <a:t>egal AI</a:t>
            </a:r>
          </a:p>
          <a:p>
            <a:pPr marL="0" marR="0" lvl="0" indent="0" algn="ctr" defTabSz="1244600" rtl="0" eaLnBrk="1" fontAlgn="auto" latinLnBrk="0" hangingPunct="1">
              <a:lnSpc>
                <a:spcPct val="100000"/>
              </a:lnSpc>
              <a:spcBef>
                <a:spcPts val="0"/>
              </a:spcBef>
              <a:spcAft>
                <a:spcPts val="600"/>
              </a:spcAft>
              <a:buClrTx/>
              <a:buSzTx/>
              <a:buFontTx/>
              <a:buNone/>
              <a:tabLst/>
              <a:defRPr/>
            </a:pPr>
            <a:r>
              <a:rPr lang="en-GB" dirty="0">
                <a:solidFill>
                  <a:schemeClr val="bg1"/>
                </a:solidFill>
              </a:rPr>
              <a:t>The e-discovery revolution holds interesting lessons</a:t>
            </a:r>
          </a:p>
        </p:txBody>
      </p:sp>
      <p:sp>
        <p:nvSpPr>
          <p:cNvPr id="15" name="TextBox 21">
            <a:extLst>
              <a:ext uri="{FF2B5EF4-FFF2-40B4-BE49-F238E27FC236}">
                <a16:creationId xmlns:a16="http://schemas.microsoft.com/office/drawing/2014/main" id="{CAF004AD-D9F5-6233-62AA-3E50A7618601}"/>
              </a:ext>
            </a:extLst>
          </p:cNvPr>
          <p:cNvSpPr txBox="1"/>
          <p:nvPr/>
        </p:nvSpPr>
        <p:spPr>
          <a:xfrm>
            <a:off x="7266467" y="4106333"/>
            <a:ext cx="2103120" cy="1933587"/>
          </a:xfrm>
          <a:prstGeom prst="rect">
            <a:avLst/>
          </a:prstGeom>
          <a:noFill/>
          <a:ln>
            <a:solidFill>
              <a:schemeClr val="bg1"/>
            </a:solidFill>
          </a:ln>
        </p:spPr>
        <p:txBody>
          <a:bodyPr wrap="square" lIns="45720" rIns="4572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b="1" dirty="0">
                <a:solidFill>
                  <a:schemeClr val="bg1"/>
                </a:solidFill>
              </a:rPr>
              <a:t>Legal’s tech challenges</a:t>
            </a:r>
            <a:endParaRPr kumimoji="0" lang="en-GB" b="1" i="0" u="none" strike="noStrike" kern="1200" cap="none" normalizeH="0" baseline="0" noProof="0" dirty="0">
              <a:ln>
                <a:noFill/>
              </a:ln>
              <a:solidFill>
                <a:schemeClr val="bg1"/>
              </a:solidFill>
              <a:effectLst/>
              <a:uLnTx/>
              <a:uFillTx/>
              <a:ea typeface="+mn-ea"/>
              <a:cs typeface="+mn-cs"/>
            </a:endParaRPr>
          </a:p>
          <a:p>
            <a:pPr marL="0" marR="0" lvl="0" indent="0" algn="ctr" defTabSz="1244600" rtl="0" eaLnBrk="1" fontAlgn="auto" latinLnBrk="0" hangingPunct="1">
              <a:lnSpc>
                <a:spcPct val="100000"/>
              </a:lnSpc>
              <a:spcBef>
                <a:spcPts val="0"/>
              </a:spcBef>
              <a:spcAft>
                <a:spcPts val="600"/>
              </a:spcAft>
              <a:buClrTx/>
              <a:buSzTx/>
              <a:buFontTx/>
              <a:buNone/>
              <a:tabLst/>
              <a:defRPr/>
            </a:pPr>
            <a:r>
              <a:rPr lang="en-GB" dirty="0">
                <a:solidFill>
                  <a:schemeClr val="bg1"/>
                </a:solidFill>
              </a:rPr>
              <a:t>Budgets, selection, implementation and adoption</a:t>
            </a:r>
          </a:p>
        </p:txBody>
      </p:sp>
      <p:sp>
        <p:nvSpPr>
          <p:cNvPr id="16" name="TextBox 22">
            <a:extLst>
              <a:ext uri="{FF2B5EF4-FFF2-40B4-BE49-F238E27FC236}">
                <a16:creationId xmlns:a16="http://schemas.microsoft.com/office/drawing/2014/main" id="{91B8825C-2340-BC64-995E-BDEBD082887D}"/>
              </a:ext>
            </a:extLst>
          </p:cNvPr>
          <p:cNvSpPr txBox="1"/>
          <p:nvPr/>
        </p:nvSpPr>
        <p:spPr>
          <a:xfrm>
            <a:off x="9485315" y="4106333"/>
            <a:ext cx="2103120" cy="1933587"/>
          </a:xfrm>
          <a:prstGeom prst="rect">
            <a:avLst/>
          </a:prstGeom>
          <a:noFill/>
          <a:ln>
            <a:solidFill>
              <a:schemeClr val="bg1"/>
            </a:solidFill>
          </a:ln>
        </p:spPr>
        <p:txBody>
          <a:bodyPr wrap="square" lIns="45720" rIns="4572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b="1" i="0" u="none" strike="noStrike" kern="1200" cap="none" normalizeH="0" baseline="0" noProof="0" dirty="0">
                <a:ln>
                  <a:noFill/>
                </a:ln>
                <a:solidFill>
                  <a:schemeClr val="bg1"/>
                </a:solidFill>
                <a:effectLst/>
                <a:uLnTx/>
                <a:uFillTx/>
                <a:ea typeface="+mn-ea"/>
                <a:cs typeface="+mn-cs"/>
              </a:rPr>
              <a:t>Tech is a tool!</a:t>
            </a:r>
            <a:br>
              <a:rPr kumimoji="0" lang="en-GB" b="1" i="0" u="none" strike="noStrike" kern="1200" cap="none" normalizeH="0" baseline="0" noProof="0" dirty="0">
                <a:ln>
                  <a:noFill/>
                </a:ln>
                <a:solidFill>
                  <a:schemeClr val="bg1"/>
                </a:solidFill>
                <a:effectLst/>
                <a:uLnTx/>
                <a:uFillTx/>
                <a:ea typeface="+mn-ea"/>
                <a:cs typeface="+mn-cs"/>
              </a:rPr>
            </a:br>
            <a:endParaRPr kumimoji="0" lang="en-GB" b="1" i="0" u="none" strike="noStrike" kern="1200" cap="none" normalizeH="0" baseline="0" noProof="0" dirty="0">
              <a:ln>
                <a:noFill/>
              </a:ln>
              <a:solidFill>
                <a:schemeClr val="bg1"/>
              </a:solidFill>
              <a:effectLst/>
              <a:uLnTx/>
              <a:uFillTx/>
              <a:ea typeface="+mn-ea"/>
              <a:cs typeface="+mn-cs"/>
            </a:endParaRPr>
          </a:p>
          <a:p>
            <a:pPr marL="0" marR="0" lvl="0" indent="0" algn="ctr" defTabSz="1244600" rtl="0" eaLnBrk="1" fontAlgn="auto" latinLnBrk="0" hangingPunct="1">
              <a:lnSpc>
                <a:spcPct val="100000"/>
              </a:lnSpc>
              <a:spcBef>
                <a:spcPts val="0"/>
              </a:spcBef>
              <a:spcAft>
                <a:spcPts val="600"/>
              </a:spcAft>
              <a:buClrTx/>
              <a:buSzTx/>
              <a:buFontTx/>
              <a:buNone/>
              <a:tabLst/>
              <a:defRPr/>
            </a:pPr>
            <a:r>
              <a:rPr lang="en-GB" dirty="0">
                <a:solidFill>
                  <a:schemeClr val="bg1"/>
                </a:solidFill>
              </a:rPr>
              <a:t>Technology doesn’t solve problems — it enables people </a:t>
            </a:r>
          </a:p>
        </p:txBody>
      </p:sp>
      <p:sp>
        <p:nvSpPr>
          <p:cNvPr id="19" name="TextBox 71">
            <a:extLst>
              <a:ext uri="{FF2B5EF4-FFF2-40B4-BE49-F238E27FC236}">
                <a16:creationId xmlns:a16="http://schemas.microsoft.com/office/drawing/2014/main" id="{D0FBBA57-EE9F-98EA-7B6D-C183F8171D3D}"/>
              </a:ext>
            </a:extLst>
          </p:cNvPr>
          <p:cNvSpPr txBox="1"/>
          <p:nvPr/>
        </p:nvSpPr>
        <p:spPr>
          <a:xfrm>
            <a:off x="837398" y="6040967"/>
            <a:ext cx="1648164" cy="70908"/>
          </a:xfrm>
          <a:prstGeom prst="rect">
            <a:avLst/>
          </a:prstGeom>
          <a:solidFill>
            <a:schemeClr val="tx2"/>
          </a:solidFill>
          <a:ln>
            <a:noFill/>
          </a:ln>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44600" rtl="0" eaLnBrk="1" fontAlgn="auto" latinLnBrk="0" hangingPunct="1">
              <a:lnSpc>
                <a:spcPct val="100000"/>
              </a:lnSpc>
              <a:spcAft>
                <a:spcPts val="600"/>
              </a:spcAft>
              <a:buClrTx/>
              <a:buSzTx/>
              <a:buFontTx/>
              <a:buNone/>
              <a:tabLst/>
              <a:defRPr/>
            </a:pPr>
            <a:endParaRPr lang="en-GB" sz="1600" dirty="0">
              <a:solidFill>
                <a:schemeClr val="bg1"/>
              </a:solidFill>
            </a:endParaRPr>
          </a:p>
        </p:txBody>
      </p:sp>
      <p:sp>
        <p:nvSpPr>
          <p:cNvPr id="20" name="TextBox 71">
            <a:extLst>
              <a:ext uri="{FF2B5EF4-FFF2-40B4-BE49-F238E27FC236}">
                <a16:creationId xmlns:a16="http://schemas.microsoft.com/office/drawing/2014/main" id="{816FB044-A13F-865A-A60D-FD137DE057D6}"/>
              </a:ext>
            </a:extLst>
          </p:cNvPr>
          <p:cNvSpPr txBox="1"/>
          <p:nvPr/>
        </p:nvSpPr>
        <p:spPr>
          <a:xfrm>
            <a:off x="3056247" y="6040967"/>
            <a:ext cx="1648164" cy="70908"/>
          </a:xfrm>
          <a:prstGeom prst="rect">
            <a:avLst/>
          </a:prstGeom>
          <a:solidFill>
            <a:schemeClr val="tx2"/>
          </a:solidFill>
          <a:ln>
            <a:noFill/>
          </a:ln>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44600" rtl="0" eaLnBrk="1" fontAlgn="auto" latinLnBrk="0" hangingPunct="1">
              <a:lnSpc>
                <a:spcPct val="100000"/>
              </a:lnSpc>
              <a:spcAft>
                <a:spcPts val="600"/>
              </a:spcAft>
              <a:buClrTx/>
              <a:buSzTx/>
              <a:buFontTx/>
              <a:buNone/>
              <a:tabLst/>
              <a:defRPr/>
            </a:pPr>
            <a:endParaRPr lang="en-GB" sz="1600" dirty="0">
              <a:solidFill>
                <a:schemeClr val="bg1"/>
              </a:solidFill>
            </a:endParaRPr>
          </a:p>
        </p:txBody>
      </p:sp>
      <p:sp>
        <p:nvSpPr>
          <p:cNvPr id="21" name="TextBox 71">
            <a:extLst>
              <a:ext uri="{FF2B5EF4-FFF2-40B4-BE49-F238E27FC236}">
                <a16:creationId xmlns:a16="http://schemas.microsoft.com/office/drawing/2014/main" id="{4C6A6E52-5055-C810-08CC-CEBA81AC195D}"/>
              </a:ext>
            </a:extLst>
          </p:cNvPr>
          <p:cNvSpPr txBox="1"/>
          <p:nvPr/>
        </p:nvSpPr>
        <p:spPr>
          <a:xfrm>
            <a:off x="5275096" y="6040967"/>
            <a:ext cx="1648164" cy="70908"/>
          </a:xfrm>
          <a:prstGeom prst="rect">
            <a:avLst/>
          </a:prstGeom>
          <a:solidFill>
            <a:schemeClr val="tx2"/>
          </a:solidFill>
          <a:ln>
            <a:noFill/>
          </a:ln>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44600" rtl="0" eaLnBrk="1" fontAlgn="auto" latinLnBrk="0" hangingPunct="1">
              <a:lnSpc>
                <a:spcPct val="100000"/>
              </a:lnSpc>
              <a:spcAft>
                <a:spcPts val="600"/>
              </a:spcAft>
              <a:buClrTx/>
              <a:buSzTx/>
              <a:buFontTx/>
              <a:buNone/>
              <a:tabLst/>
              <a:defRPr/>
            </a:pPr>
            <a:endParaRPr lang="en-GB" sz="1600" dirty="0">
              <a:solidFill>
                <a:schemeClr val="bg1"/>
              </a:solidFill>
            </a:endParaRPr>
          </a:p>
        </p:txBody>
      </p:sp>
      <p:sp>
        <p:nvSpPr>
          <p:cNvPr id="22" name="TextBox 71">
            <a:extLst>
              <a:ext uri="{FF2B5EF4-FFF2-40B4-BE49-F238E27FC236}">
                <a16:creationId xmlns:a16="http://schemas.microsoft.com/office/drawing/2014/main" id="{46A251E9-4480-7B19-301F-B2F00DFE612B}"/>
              </a:ext>
            </a:extLst>
          </p:cNvPr>
          <p:cNvSpPr txBox="1"/>
          <p:nvPr/>
        </p:nvSpPr>
        <p:spPr>
          <a:xfrm>
            <a:off x="7493945" y="6040967"/>
            <a:ext cx="1648164" cy="70908"/>
          </a:xfrm>
          <a:prstGeom prst="rect">
            <a:avLst/>
          </a:prstGeom>
          <a:solidFill>
            <a:schemeClr val="tx2"/>
          </a:solidFill>
          <a:ln>
            <a:noFill/>
          </a:ln>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44600" rtl="0" eaLnBrk="1" fontAlgn="auto" latinLnBrk="0" hangingPunct="1">
              <a:lnSpc>
                <a:spcPct val="100000"/>
              </a:lnSpc>
              <a:spcAft>
                <a:spcPts val="600"/>
              </a:spcAft>
              <a:buClrTx/>
              <a:buSzTx/>
              <a:buFontTx/>
              <a:buNone/>
              <a:tabLst/>
              <a:defRPr/>
            </a:pPr>
            <a:endParaRPr lang="en-GB" sz="1600" dirty="0">
              <a:solidFill>
                <a:schemeClr val="bg1"/>
              </a:solidFill>
            </a:endParaRPr>
          </a:p>
        </p:txBody>
      </p:sp>
      <p:sp>
        <p:nvSpPr>
          <p:cNvPr id="23" name="TextBox 71">
            <a:extLst>
              <a:ext uri="{FF2B5EF4-FFF2-40B4-BE49-F238E27FC236}">
                <a16:creationId xmlns:a16="http://schemas.microsoft.com/office/drawing/2014/main" id="{827CD6BE-8F91-481D-1CE4-8E019393DB55}"/>
              </a:ext>
            </a:extLst>
          </p:cNvPr>
          <p:cNvSpPr txBox="1"/>
          <p:nvPr/>
        </p:nvSpPr>
        <p:spPr>
          <a:xfrm>
            <a:off x="9712793" y="6040967"/>
            <a:ext cx="1648164" cy="70908"/>
          </a:xfrm>
          <a:prstGeom prst="rect">
            <a:avLst/>
          </a:prstGeom>
          <a:solidFill>
            <a:schemeClr val="tx2"/>
          </a:solidFill>
          <a:ln>
            <a:noFill/>
          </a:ln>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44600" rtl="0" eaLnBrk="1" fontAlgn="auto" latinLnBrk="0" hangingPunct="1">
              <a:lnSpc>
                <a:spcPct val="100000"/>
              </a:lnSpc>
              <a:spcAft>
                <a:spcPts val="600"/>
              </a:spcAft>
              <a:buClrTx/>
              <a:buSzTx/>
              <a:buFontTx/>
              <a:buNone/>
              <a:tabLst/>
              <a:defRPr/>
            </a:pPr>
            <a:endParaRPr lang="en-GB" sz="1600" dirty="0">
              <a:solidFill>
                <a:schemeClr val="bg1"/>
              </a:solidFill>
            </a:endParaRPr>
          </a:p>
        </p:txBody>
      </p:sp>
      <p:sp>
        <p:nvSpPr>
          <p:cNvPr id="24" name="Moon 23">
            <a:extLst>
              <a:ext uri="{FF2B5EF4-FFF2-40B4-BE49-F238E27FC236}">
                <a16:creationId xmlns:a16="http://schemas.microsoft.com/office/drawing/2014/main" id="{9825B2E1-495E-F390-31B3-E98E39529DC7}"/>
              </a:ext>
            </a:extLst>
          </p:cNvPr>
          <p:cNvSpPr>
            <a:spLocks noChangeAspect="1"/>
          </p:cNvSpPr>
          <p:nvPr/>
        </p:nvSpPr>
        <p:spPr>
          <a:xfrm rot="16200000">
            <a:off x="1135700" y="2284815"/>
            <a:ext cx="1051560" cy="2103120"/>
          </a:xfrm>
          <a:prstGeom prst="moon">
            <a:avLst>
              <a:gd name="adj" fmla="val 9916"/>
            </a:avLst>
          </a:prstGeom>
          <a:solidFill>
            <a:schemeClr val="tx1"/>
          </a:solidFill>
          <a:ln w="9525">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8" name="Moon 27">
            <a:extLst>
              <a:ext uri="{FF2B5EF4-FFF2-40B4-BE49-F238E27FC236}">
                <a16:creationId xmlns:a16="http://schemas.microsoft.com/office/drawing/2014/main" id="{48986740-DAC6-FF0E-6209-763B4E2B6F9B}"/>
              </a:ext>
            </a:extLst>
          </p:cNvPr>
          <p:cNvSpPr>
            <a:spLocks noChangeAspect="1"/>
          </p:cNvSpPr>
          <p:nvPr/>
        </p:nvSpPr>
        <p:spPr>
          <a:xfrm rot="16200000">
            <a:off x="3354549" y="2284815"/>
            <a:ext cx="1051560" cy="2103120"/>
          </a:xfrm>
          <a:prstGeom prst="moon">
            <a:avLst>
              <a:gd name="adj" fmla="val 9916"/>
            </a:avLst>
          </a:prstGeom>
          <a:solidFill>
            <a:schemeClr val="tx1"/>
          </a:solidFill>
          <a:ln w="9525">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9" name="Moon 28">
            <a:extLst>
              <a:ext uri="{FF2B5EF4-FFF2-40B4-BE49-F238E27FC236}">
                <a16:creationId xmlns:a16="http://schemas.microsoft.com/office/drawing/2014/main" id="{9892925C-9CC7-6600-E940-88C9D8230E49}"/>
              </a:ext>
            </a:extLst>
          </p:cNvPr>
          <p:cNvSpPr>
            <a:spLocks noChangeAspect="1"/>
          </p:cNvSpPr>
          <p:nvPr/>
        </p:nvSpPr>
        <p:spPr>
          <a:xfrm rot="16200000">
            <a:off x="5573398" y="2284815"/>
            <a:ext cx="1051560" cy="2103120"/>
          </a:xfrm>
          <a:prstGeom prst="moon">
            <a:avLst>
              <a:gd name="adj" fmla="val 9916"/>
            </a:avLst>
          </a:prstGeom>
          <a:solidFill>
            <a:schemeClr val="tx1"/>
          </a:solidFill>
          <a:ln w="9525">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30" name="Moon 29">
            <a:extLst>
              <a:ext uri="{FF2B5EF4-FFF2-40B4-BE49-F238E27FC236}">
                <a16:creationId xmlns:a16="http://schemas.microsoft.com/office/drawing/2014/main" id="{03ACD82F-11ED-C0CA-25F6-F1F7213E8DC1}"/>
              </a:ext>
            </a:extLst>
          </p:cNvPr>
          <p:cNvSpPr>
            <a:spLocks noChangeAspect="1"/>
          </p:cNvSpPr>
          <p:nvPr/>
        </p:nvSpPr>
        <p:spPr>
          <a:xfrm rot="16200000">
            <a:off x="7792247" y="2284815"/>
            <a:ext cx="1051560" cy="2103120"/>
          </a:xfrm>
          <a:prstGeom prst="moon">
            <a:avLst>
              <a:gd name="adj" fmla="val 9916"/>
            </a:avLst>
          </a:prstGeom>
          <a:solidFill>
            <a:schemeClr val="tx1"/>
          </a:solidFill>
          <a:ln w="9525">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31" name="Moon 30">
            <a:extLst>
              <a:ext uri="{FF2B5EF4-FFF2-40B4-BE49-F238E27FC236}">
                <a16:creationId xmlns:a16="http://schemas.microsoft.com/office/drawing/2014/main" id="{5D4161F2-B9D2-0422-899B-0B1D62BC53D9}"/>
              </a:ext>
            </a:extLst>
          </p:cNvPr>
          <p:cNvSpPr>
            <a:spLocks noChangeAspect="1"/>
          </p:cNvSpPr>
          <p:nvPr/>
        </p:nvSpPr>
        <p:spPr>
          <a:xfrm rot="16200000">
            <a:off x="10011095" y="2284815"/>
            <a:ext cx="1051560" cy="2103120"/>
          </a:xfrm>
          <a:prstGeom prst="moon">
            <a:avLst>
              <a:gd name="adj" fmla="val 9916"/>
            </a:avLst>
          </a:prstGeom>
          <a:solidFill>
            <a:schemeClr val="tx1"/>
          </a:solidFill>
          <a:ln w="9525">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33" name="Arc 32">
            <a:extLst>
              <a:ext uri="{FF2B5EF4-FFF2-40B4-BE49-F238E27FC236}">
                <a16:creationId xmlns:a16="http://schemas.microsoft.com/office/drawing/2014/main" id="{C38B4589-9B3F-5ECD-5AF3-D04E43A73F01}"/>
              </a:ext>
            </a:extLst>
          </p:cNvPr>
          <p:cNvSpPr/>
          <p:nvPr/>
        </p:nvSpPr>
        <p:spPr>
          <a:xfrm>
            <a:off x="2828769" y="1485948"/>
            <a:ext cx="2103120" cy="2103120"/>
          </a:xfrm>
          <a:prstGeom prst="arc">
            <a:avLst>
              <a:gd name="adj1" fmla="val 13470072"/>
              <a:gd name="adj2" fmla="val 19042005"/>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p>
        </p:txBody>
      </p:sp>
      <p:sp>
        <p:nvSpPr>
          <p:cNvPr id="34" name="Arc 33">
            <a:extLst>
              <a:ext uri="{FF2B5EF4-FFF2-40B4-BE49-F238E27FC236}">
                <a16:creationId xmlns:a16="http://schemas.microsoft.com/office/drawing/2014/main" id="{EB7C92DB-C169-20EF-428A-5BC8B19F0DDC}"/>
              </a:ext>
            </a:extLst>
          </p:cNvPr>
          <p:cNvSpPr/>
          <p:nvPr/>
        </p:nvSpPr>
        <p:spPr>
          <a:xfrm>
            <a:off x="5047618" y="1485948"/>
            <a:ext cx="2103120" cy="2103120"/>
          </a:xfrm>
          <a:prstGeom prst="arc">
            <a:avLst>
              <a:gd name="adj1" fmla="val 13470072"/>
              <a:gd name="adj2" fmla="val 19042005"/>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p>
        </p:txBody>
      </p:sp>
      <p:sp>
        <p:nvSpPr>
          <p:cNvPr id="35" name="Arc 34">
            <a:extLst>
              <a:ext uri="{FF2B5EF4-FFF2-40B4-BE49-F238E27FC236}">
                <a16:creationId xmlns:a16="http://schemas.microsoft.com/office/drawing/2014/main" id="{B0AD0A9C-60EC-710F-784B-19CED2CB46FD}"/>
              </a:ext>
            </a:extLst>
          </p:cNvPr>
          <p:cNvSpPr/>
          <p:nvPr/>
        </p:nvSpPr>
        <p:spPr>
          <a:xfrm>
            <a:off x="7266467" y="1485948"/>
            <a:ext cx="2103120" cy="2103120"/>
          </a:xfrm>
          <a:prstGeom prst="arc">
            <a:avLst>
              <a:gd name="adj1" fmla="val 13470072"/>
              <a:gd name="adj2" fmla="val 19042005"/>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p>
        </p:txBody>
      </p:sp>
      <p:sp>
        <p:nvSpPr>
          <p:cNvPr id="36" name="Arc 35">
            <a:extLst>
              <a:ext uri="{FF2B5EF4-FFF2-40B4-BE49-F238E27FC236}">
                <a16:creationId xmlns:a16="http://schemas.microsoft.com/office/drawing/2014/main" id="{E1926045-6E36-EBFE-B3CC-2EACDF07ABB9}"/>
              </a:ext>
            </a:extLst>
          </p:cNvPr>
          <p:cNvSpPr/>
          <p:nvPr/>
        </p:nvSpPr>
        <p:spPr>
          <a:xfrm>
            <a:off x="9485315" y="1485948"/>
            <a:ext cx="2103120" cy="2103120"/>
          </a:xfrm>
          <a:prstGeom prst="arc">
            <a:avLst>
              <a:gd name="adj1" fmla="val 13470072"/>
              <a:gd name="adj2" fmla="val 19042005"/>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p>
        </p:txBody>
      </p:sp>
      <p:sp>
        <p:nvSpPr>
          <p:cNvPr id="3" name="Oval 2">
            <a:extLst>
              <a:ext uri="{FF2B5EF4-FFF2-40B4-BE49-F238E27FC236}">
                <a16:creationId xmlns:a16="http://schemas.microsoft.com/office/drawing/2014/main" id="{15D76CA5-BC5E-33AB-80D8-E4F0C36B1959}"/>
              </a:ext>
            </a:extLst>
          </p:cNvPr>
          <p:cNvSpPr/>
          <p:nvPr/>
        </p:nvSpPr>
        <p:spPr>
          <a:xfrm>
            <a:off x="5147313" y="1647279"/>
            <a:ext cx="1903724" cy="1903724"/>
          </a:xfrm>
          <a:prstGeom prst="ellipse">
            <a:avLst/>
          </a:prstGeom>
          <a:blipFill>
            <a:blip r:embed="rId9">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2256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74D3F3E-F39E-D430-E7A7-93C7128858D6}"/>
              </a:ext>
            </a:extLst>
          </p:cNvPr>
          <p:cNvGraphicFramePr>
            <a:graphicFrameLocks noChangeAspect="1"/>
          </p:cNvGraphicFramePr>
          <p:nvPr>
            <p:custDataLst>
              <p:tags r:id="rId1"/>
            </p:custDataLst>
            <p:extLst>
              <p:ext uri="{D42A27DB-BD31-4B8C-83A1-F6EECF244321}">
                <p14:modId xmlns:p14="http://schemas.microsoft.com/office/powerpoint/2010/main" val="2111546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9" name="Object 8" hidden="1">
                        <a:extLst>
                          <a:ext uri="{FF2B5EF4-FFF2-40B4-BE49-F238E27FC236}">
                            <a16:creationId xmlns:a16="http://schemas.microsoft.com/office/drawing/2014/main" id="{E74D3F3E-F39E-D430-E7A7-93C7128858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3D4CBD-311E-227E-861C-488FE09483A9}"/>
              </a:ext>
            </a:extLst>
          </p:cNvPr>
          <p:cNvSpPr>
            <a:spLocks noGrp="1"/>
          </p:cNvSpPr>
          <p:nvPr>
            <p:ph type="title"/>
          </p:nvPr>
        </p:nvSpPr>
        <p:spPr>
          <a:xfrm>
            <a:off x="609920" y="294200"/>
            <a:ext cx="10978515" cy="590400"/>
          </a:xfrm>
        </p:spPr>
        <p:txBody>
          <a:bodyPr anchor="t" anchorCtr="0"/>
          <a:lstStyle/>
          <a:p>
            <a:r>
              <a:rPr lang="en-GB" noProof="0" dirty="0">
                <a:solidFill>
                  <a:schemeClr val="tx2"/>
                </a:solidFill>
                <a:latin typeface="+mn-lt"/>
              </a:rPr>
              <a:t>The hype cycle: </a:t>
            </a:r>
            <a:r>
              <a:rPr lang="en-GB" dirty="0">
                <a:latin typeface="+mn-lt"/>
              </a:rPr>
              <a:t>We are still in the early stages!</a:t>
            </a:r>
          </a:p>
        </p:txBody>
      </p:sp>
      <p:grpSp>
        <p:nvGrpSpPr>
          <p:cNvPr id="6" name="Group 5">
            <a:extLst>
              <a:ext uri="{FF2B5EF4-FFF2-40B4-BE49-F238E27FC236}">
                <a16:creationId xmlns:a16="http://schemas.microsoft.com/office/drawing/2014/main" id="{50DDEBB6-AE9E-329A-5AAD-B505F474C365}"/>
              </a:ext>
            </a:extLst>
          </p:cNvPr>
          <p:cNvGrpSpPr/>
          <p:nvPr/>
        </p:nvGrpSpPr>
        <p:grpSpPr>
          <a:xfrm>
            <a:off x="566376" y="1185444"/>
            <a:ext cx="10988355" cy="4914603"/>
            <a:chOff x="681830" y="1370506"/>
            <a:chExt cx="7907683" cy="4563843"/>
          </a:xfrm>
        </p:grpSpPr>
        <p:sp>
          <p:nvSpPr>
            <p:cNvPr id="17" name="TextBox 16">
              <a:extLst>
                <a:ext uri="{FF2B5EF4-FFF2-40B4-BE49-F238E27FC236}">
                  <a16:creationId xmlns:a16="http://schemas.microsoft.com/office/drawing/2014/main" id="{87A3268D-96B1-FC1C-4DD3-87FB036D8F09}"/>
                </a:ext>
              </a:extLst>
            </p:cNvPr>
            <p:cNvSpPr txBox="1"/>
            <p:nvPr/>
          </p:nvSpPr>
          <p:spPr>
            <a:xfrm>
              <a:off x="2127454" y="1370506"/>
              <a:ext cx="1324986" cy="485877"/>
            </a:xfrm>
            <a:prstGeom prst="rect">
              <a:avLst/>
            </a:prstGeom>
            <a:noFill/>
          </p:spPr>
          <p:txBody>
            <a:bodyPr wrap="square">
              <a:spAutoFit/>
            </a:bodyPr>
            <a:lstStyle/>
            <a:p>
              <a:pPr algn="ctr"/>
              <a:r>
                <a:rPr lang="en-IN" sz="1400" b="1" kern="1200" dirty="0">
                  <a:solidFill>
                    <a:schemeClr val="tx2"/>
                  </a:solidFill>
                  <a:ea typeface="+mn-ea"/>
                  <a:cs typeface="+mn-cs"/>
                </a:rPr>
                <a:t>Peak of inflated expectations</a:t>
              </a:r>
              <a:endParaRPr lang="en-IN" sz="1400" b="1" dirty="0">
                <a:solidFill>
                  <a:schemeClr val="tx2"/>
                </a:solidFill>
              </a:endParaRPr>
            </a:p>
          </p:txBody>
        </p:sp>
        <p:sp>
          <p:nvSpPr>
            <p:cNvPr id="18" name="TextBox 17">
              <a:extLst>
                <a:ext uri="{FF2B5EF4-FFF2-40B4-BE49-F238E27FC236}">
                  <a16:creationId xmlns:a16="http://schemas.microsoft.com/office/drawing/2014/main" id="{BC02D271-1A83-B933-455D-874D6E5E3B02}"/>
                </a:ext>
              </a:extLst>
            </p:cNvPr>
            <p:cNvSpPr txBox="1"/>
            <p:nvPr/>
          </p:nvSpPr>
          <p:spPr>
            <a:xfrm>
              <a:off x="5281593" y="1428537"/>
              <a:ext cx="1383801" cy="485877"/>
            </a:xfrm>
            <a:prstGeom prst="rect">
              <a:avLst/>
            </a:prstGeom>
            <a:noFill/>
          </p:spPr>
          <p:txBody>
            <a:bodyPr wrap="square">
              <a:spAutoFit/>
            </a:bodyPr>
            <a:lstStyle/>
            <a:p>
              <a:pPr algn="ctr"/>
              <a:r>
                <a:rPr lang="en-IN" sz="1400" b="1" kern="1200" dirty="0">
                  <a:solidFill>
                    <a:schemeClr val="tx2"/>
                  </a:solidFill>
                  <a:ea typeface="+mn-ea"/>
                  <a:cs typeface="+mn-cs"/>
                </a:rPr>
                <a:t>Scope of enlightenment</a:t>
              </a:r>
              <a:endParaRPr lang="en-IN" sz="1400" b="1" dirty="0">
                <a:solidFill>
                  <a:schemeClr val="tx2"/>
                </a:solidFill>
              </a:endParaRPr>
            </a:p>
          </p:txBody>
        </p:sp>
        <p:grpSp>
          <p:nvGrpSpPr>
            <p:cNvPr id="26" name="Group 25">
              <a:extLst>
                <a:ext uri="{FF2B5EF4-FFF2-40B4-BE49-F238E27FC236}">
                  <a16:creationId xmlns:a16="http://schemas.microsoft.com/office/drawing/2014/main" id="{9F700B83-1833-C8F8-03CA-8BA993D4AD5F}"/>
                </a:ext>
              </a:extLst>
            </p:cNvPr>
            <p:cNvGrpSpPr/>
            <p:nvPr/>
          </p:nvGrpSpPr>
          <p:grpSpPr>
            <a:xfrm>
              <a:off x="751160" y="1538326"/>
              <a:ext cx="7826929" cy="4060004"/>
              <a:chOff x="1343549" y="1710449"/>
              <a:chExt cx="8354124" cy="4060004"/>
            </a:xfrm>
          </p:grpSpPr>
          <p:cxnSp>
            <p:nvCxnSpPr>
              <p:cNvPr id="12" name="Straight Arrow Connector 11">
                <a:extLst>
                  <a:ext uri="{FF2B5EF4-FFF2-40B4-BE49-F238E27FC236}">
                    <a16:creationId xmlns:a16="http://schemas.microsoft.com/office/drawing/2014/main" id="{BDB9B6E5-B055-833D-4337-ED347D5D4CA6}"/>
                  </a:ext>
                </a:extLst>
              </p:cNvPr>
              <p:cNvCxnSpPr>
                <a:cxnSpLocks/>
              </p:cNvCxnSpPr>
              <p:nvPr/>
            </p:nvCxnSpPr>
            <p:spPr>
              <a:xfrm>
                <a:off x="1343549" y="5770453"/>
                <a:ext cx="8354124"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6222A33-98C1-9A84-E5C0-CBA576E8DAC4}"/>
                  </a:ext>
                </a:extLst>
              </p:cNvPr>
              <p:cNvCxnSpPr>
                <a:cxnSpLocks/>
              </p:cNvCxnSpPr>
              <p:nvPr/>
            </p:nvCxnSpPr>
            <p:spPr>
              <a:xfrm flipV="1">
                <a:off x="1343549" y="1710449"/>
                <a:ext cx="0" cy="4060004"/>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219AB7B6-1AAD-2350-8326-FD35AA85F46D}"/>
                </a:ext>
              </a:extLst>
            </p:cNvPr>
            <p:cNvSpPr txBox="1"/>
            <p:nvPr/>
          </p:nvSpPr>
          <p:spPr>
            <a:xfrm>
              <a:off x="681830" y="5648538"/>
              <a:ext cx="1320217" cy="285811"/>
            </a:xfrm>
            <a:prstGeom prst="rect">
              <a:avLst/>
            </a:prstGeom>
            <a:noFill/>
          </p:spPr>
          <p:txBody>
            <a:bodyPr wrap="square" anchor="ctr">
              <a:spAutoFit/>
            </a:bodyPr>
            <a:lstStyle/>
            <a:p>
              <a:pPr algn="ctr"/>
              <a:r>
                <a:rPr lang="en-IN" sz="1400" kern="1200" dirty="0">
                  <a:solidFill>
                    <a:schemeClr val="bg1"/>
                  </a:solidFill>
                  <a:ea typeface="+mn-ea"/>
                  <a:cs typeface="+mn-cs"/>
                </a:rPr>
                <a:t>Technology trigger</a:t>
              </a:r>
              <a:endParaRPr lang="en-IN" sz="1400" dirty="0">
                <a:solidFill>
                  <a:schemeClr val="bg1"/>
                </a:solidFill>
              </a:endParaRPr>
            </a:p>
          </p:txBody>
        </p:sp>
        <p:sp>
          <p:nvSpPr>
            <p:cNvPr id="28" name="TextBox 27">
              <a:extLst>
                <a:ext uri="{FF2B5EF4-FFF2-40B4-BE49-F238E27FC236}">
                  <a16:creationId xmlns:a16="http://schemas.microsoft.com/office/drawing/2014/main" id="{61B19BF3-BB8A-6417-12C9-A35962BBBC26}"/>
                </a:ext>
              </a:extLst>
            </p:cNvPr>
            <p:cNvSpPr txBox="1"/>
            <p:nvPr/>
          </p:nvSpPr>
          <p:spPr>
            <a:xfrm>
              <a:off x="3531466" y="5648538"/>
              <a:ext cx="1665748" cy="285811"/>
            </a:xfrm>
            <a:prstGeom prst="rect">
              <a:avLst/>
            </a:prstGeom>
            <a:noFill/>
          </p:spPr>
          <p:txBody>
            <a:bodyPr wrap="square" anchor="ctr">
              <a:spAutoFit/>
            </a:bodyPr>
            <a:lstStyle/>
            <a:p>
              <a:pPr algn="ctr"/>
              <a:r>
                <a:rPr lang="en-IN" sz="1400" kern="1200" dirty="0">
                  <a:solidFill>
                    <a:schemeClr val="bg1"/>
                  </a:solidFill>
                  <a:ea typeface="+mn-ea"/>
                  <a:cs typeface="+mn-cs"/>
                </a:rPr>
                <a:t>Trough of disillusionment</a:t>
              </a:r>
              <a:endParaRPr lang="en-IN" sz="1400" dirty="0">
                <a:solidFill>
                  <a:schemeClr val="bg1"/>
                </a:solidFill>
              </a:endParaRPr>
            </a:p>
          </p:txBody>
        </p:sp>
        <p:sp>
          <p:nvSpPr>
            <p:cNvPr id="29" name="TextBox 28">
              <a:extLst>
                <a:ext uri="{FF2B5EF4-FFF2-40B4-BE49-F238E27FC236}">
                  <a16:creationId xmlns:a16="http://schemas.microsoft.com/office/drawing/2014/main" id="{1C5DA028-B034-FB12-DA6A-555E1928E777}"/>
                </a:ext>
              </a:extLst>
            </p:cNvPr>
            <p:cNvSpPr txBox="1"/>
            <p:nvPr/>
          </p:nvSpPr>
          <p:spPr>
            <a:xfrm>
              <a:off x="6733111" y="5648538"/>
              <a:ext cx="1856402" cy="285811"/>
            </a:xfrm>
            <a:prstGeom prst="rect">
              <a:avLst/>
            </a:prstGeom>
            <a:noFill/>
          </p:spPr>
          <p:txBody>
            <a:bodyPr wrap="square" anchor="ctr">
              <a:spAutoFit/>
            </a:bodyPr>
            <a:lstStyle/>
            <a:p>
              <a:pPr algn="ctr"/>
              <a:r>
                <a:rPr lang="en-IN" sz="1400" kern="1200" dirty="0">
                  <a:solidFill>
                    <a:schemeClr val="bg1"/>
                  </a:solidFill>
                  <a:ea typeface="+mn-ea"/>
                  <a:cs typeface="+mn-cs"/>
                </a:rPr>
                <a:t>Plateau of productivity</a:t>
              </a:r>
              <a:endParaRPr lang="en-IN" sz="1400" dirty="0">
                <a:solidFill>
                  <a:schemeClr val="bg1"/>
                </a:solidFill>
              </a:endParaRPr>
            </a:p>
          </p:txBody>
        </p:sp>
        <p:cxnSp>
          <p:nvCxnSpPr>
            <p:cNvPr id="31" name="Straight Connector 30">
              <a:extLst>
                <a:ext uri="{FF2B5EF4-FFF2-40B4-BE49-F238E27FC236}">
                  <a16:creationId xmlns:a16="http://schemas.microsoft.com/office/drawing/2014/main" id="{E221BAEF-02ED-AC0A-1792-C702AE26DB68}"/>
                </a:ext>
              </a:extLst>
            </p:cNvPr>
            <p:cNvCxnSpPr>
              <a:cxnSpLocks/>
            </p:cNvCxnSpPr>
            <p:nvPr/>
          </p:nvCxnSpPr>
          <p:spPr>
            <a:xfrm>
              <a:off x="2135344" y="2176794"/>
              <a:ext cx="0" cy="3421536"/>
            </a:xfrm>
            <a:prstGeom prst="line">
              <a:avLst/>
            </a:prstGeom>
            <a:ln w="9525">
              <a:solidFill>
                <a:srgbClr val="C4C4CD"/>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7A0CAD8-2562-6421-8644-8150ED81DB5A}"/>
                </a:ext>
              </a:extLst>
            </p:cNvPr>
            <p:cNvCxnSpPr>
              <a:cxnSpLocks/>
            </p:cNvCxnSpPr>
            <p:nvPr/>
          </p:nvCxnSpPr>
          <p:spPr>
            <a:xfrm>
              <a:off x="3452440" y="2176794"/>
              <a:ext cx="0" cy="3421536"/>
            </a:xfrm>
            <a:prstGeom prst="line">
              <a:avLst/>
            </a:prstGeom>
            <a:ln w="9525">
              <a:solidFill>
                <a:srgbClr val="C4C4CD"/>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184CD19-9F21-E23E-2519-F14770435FA6}"/>
                </a:ext>
              </a:extLst>
            </p:cNvPr>
            <p:cNvCxnSpPr>
              <a:cxnSpLocks/>
            </p:cNvCxnSpPr>
            <p:nvPr/>
          </p:nvCxnSpPr>
          <p:spPr>
            <a:xfrm>
              <a:off x="5215103" y="2176794"/>
              <a:ext cx="0" cy="3421536"/>
            </a:xfrm>
            <a:prstGeom prst="line">
              <a:avLst/>
            </a:prstGeom>
            <a:ln w="9525">
              <a:solidFill>
                <a:srgbClr val="C4C4CD"/>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98D717C-9B4D-5EB7-92CA-9D92BCAEEF86}"/>
                </a:ext>
              </a:extLst>
            </p:cNvPr>
            <p:cNvCxnSpPr>
              <a:cxnSpLocks/>
            </p:cNvCxnSpPr>
            <p:nvPr/>
          </p:nvCxnSpPr>
          <p:spPr>
            <a:xfrm>
              <a:off x="6775879" y="2176794"/>
              <a:ext cx="0" cy="3421536"/>
            </a:xfrm>
            <a:prstGeom prst="line">
              <a:avLst/>
            </a:prstGeom>
            <a:ln w="9525">
              <a:solidFill>
                <a:srgbClr val="C4C4CD"/>
              </a:solidFill>
              <a:tail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53F5AD3C-F439-792C-C291-E9035925FA26}"/>
                </a:ext>
              </a:extLst>
            </p:cNvPr>
            <p:cNvGrpSpPr/>
            <p:nvPr/>
          </p:nvGrpSpPr>
          <p:grpSpPr>
            <a:xfrm>
              <a:off x="1329995" y="2403293"/>
              <a:ext cx="6757006" cy="2716930"/>
              <a:chOff x="2147577" y="2575416"/>
              <a:chExt cx="6642095" cy="2716930"/>
            </a:xfrm>
          </p:grpSpPr>
          <p:sp>
            <p:nvSpPr>
              <p:cNvPr id="39" name="Isosceles Triangle 38">
                <a:extLst>
                  <a:ext uri="{FF2B5EF4-FFF2-40B4-BE49-F238E27FC236}">
                    <a16:creationId xmlns:a16="http://schemas.microsoft.com/office/drawing/2014/main" id="{379774CE-F0F6-8D13-B93A-4C1EF3A23EF7}"/>
                  </a:ext>
                </a:extLst>
              </p:cNvPr>
              <p:cNvSpPr/>
              <p:nvPr/>
            </p:nvSpPr>
            <p:spPr>
              <a:xfrm rot="5136423">
                <a:off x="8675200" y="4208198"/>
                <a:ext cx="150560" cy="78384"/>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400" dirty="0">
                  <a:solidFill>
                    <a:schemeClr val="tx1"/>
                  </a:solidFill>
                </a:endParaRPr>
              </a:p>
            </p:txBody>
          </p:sp>
          <p:sp>
            <p:nvSpPr>
              <p:cNvPr id="13" name="Freeform: Shape 12">
                <a:extLst>
                  <a:ext uri="{FF2B5EF4-FFF2-40B4-BE49-F238E27FC236}">
                    <a16:creationId xmlns:a16="http://schemas.microsoft.com/office/drawing/2014/main" id="{A51D70F1-1707-2EEF-AC76-C7E87DCAB124}"/>
                  </a:ext>
                </a:extLst>
              </p:cNvPr>
              <p:cNvSpPr/>
              <p:nvPr/>
            </p:nvSpPr>
            <p:spPr>
              <a:xfrm rot="10800000">
                <a:off x="2147577" y="2575416"/>
                <a:ext cx="6551220" cy="2716930"/>
              </a:xfrm>
              <a:custGeom>
                <a:avLst/>
                <a:gdLst>
                  <a:gd name="connsiteX0" fmla="*/ 31707 w 3739641"/>
                  <a:gd name="connsiteY0" fmla="*/ 318782 h 2182097"/>
                  <a:gd name="connsiteX1" fmla="*/ 199487 w 3739641"/>
                  <a:gd name="connsiteY1" fmla="*/ 285226 h 2182097"/>
                  <a:gd name="connsiteX2" fmla="*/ 1541725 w 3739641"/>
                  <a:gd name="connsiteY2" fmla="*/ 2181138 h 2182097"/>
                  <a:gd name="connsiteX3" fmla="*/ 3722863 w 3739641"/>
                  <a:gd name="connsiteY3" fmla="*/ 8389 h 2182097"/>
                  <a:gd name="connsiteX4" fmla="*/ 3722863 w 3739641"/>
                  <a:gd name="connsiteY4" fmla="*/ 8389 h 2182097"/>
                  <a:gd name="connsiteX5" fmla="*/ 3722863 w 3739641"/>
                  <a:gd name="connsiteY5" fmla="*/ 8389 h 2182097"/>
                  <a:gd name="connsiteX6" fmla="*/ 3739641 w 3739641"/>
                  <a:gd name="connsiteY6" fmla="*/ 0 h 2182097"/>
                  <a:gd name="connsiteX0" fmla="*/ 55580 w 3696403"/>
                  <a:gd name="connsiteY0" fmla="*/ 359569 h 2182093"/>
                  <a:gd name="connsiteX1" fmla="*/ 156249 w 3696403"/>
                  <a:gd name="connsiteY1" fmla="*/ 285226 h 2182093"/>
                  <a:gd name="connsiteX2" fmla="*/ 1498487 w 3696403"/>
                  <a:gd name="connsiteY2" fmla="*/ 2181138 h 2182093"/>
                  <a:gd name="connsiteX3" fmla="*/ 3679625 w 3696403"/>
                  <a:gd name="connsiteY3" fmla="*/ 8389 h 2182093"/>
                  <a:gd name="connsiteX4" fmla="*/ 3679625 w 3696403"/>
                  <a:gd name="connsiteY4" fmla="*/ 8389 h 2182093"/>
                  <a:gd name="connsiteX5" fmla="*/ 3679625 w 3696403"/>
                  <a:gd name="connsiteY5" fmla="*/ 8389 h 2182093"/>
                  <a:gd name="connsiteX6" fmla="*/ 3696403 w 3696403"/>
                  <a:gd name="connsiteY6" fmla="*/ 0 h 2182093"/>
                  <a:gd name="connsiteX0" fmla="*/ 15811 w 3807635"/>
                  <a:gd name="connsiteY0" fmla="*/ 328979 h 2182095"/>
                  <a:gd name="connsiteX1" fmla="*/ 267481 w 3807635"/>
                  <a:gd name="connsiteY1" fmla="*/ 285226 h 2182095"/>
                  <a:gd name="connsiteX2" fmla="*/ 1609719 w 3807635"/>
                  <a:gd name="connsiteY2" fmla="*/ 2181138 h 2182095"/>
                  <a:gd name="connsiteX3" fmla="*/ 3790857 w 3807635"/>
                  <a:gd name="connsiteY3" fmla="*/ 8389 h 2182095"/>
                  <a:gd name="connsiteX4" fmla="*/ 3790857 w 3807635"/>
                  <a:gd name="connsiteY4" fmla="*/ 8389 h 2182095"/>
                  <a:gd name="connsiteX5" fmla="*/ 3790857 w 3807635"/>
                  <a:gd name="connsiteY5" fmla="*/ 8389 h 2182095"/>
                  <a:gd name="connsiteX6" fmla="*/ 3807635 w 3807635"/>
                  <a:gd name="connsiteY6" fmla="*/ 0 h 2182095"/>
                  <a:gd name="connsiteX0" fmla="*/ 15811 w 3807635"/>
                  <a:gd name="connsiteY0" fmla="*/ 328979 h 2182096"/>
                  <a:gd name="connsiteX1" fmla="*/ 267481 w 3807635"/>
                  <a:gd name="connsiteY1" fmla="*/ 285226 h 2182096"/>
                  <a:gd name="connsiteX2" fmla="*/ 1609719 w 3807635"/>
                  <a:gd name="connsiteY2" fmla="*/ 2181138 h 2182096"/>
                  <a:gd name="connsiteX3" fmla="*/ 3790857 w 3807635"/>
                  <a:gd name="connsiteY3" fmla="*/ 8389 h 2182096"/>
                  <a:gd name="connsiteX4" fmla="*/ 3790857 w 3807635"/>
                  <a:gd name="connsiteY4" fmla="*/ 8389 h 2182096"/>
                  <a:gd name="connsiteX5" fmla="*/ 3790857 w 3807635"/>
                  <a:gd name="connsiteY5" fmla="*/ 8389 h 2182096"/>
                  <a:gd name="connsiteX6" fmla="*/ 3807635 w 3807635"/>
                  <a:gd name="connsiteY6" fmla="*/ 0 h 2182096"/>
                  <a:gd name="connsiteX0" fmla="*/ 0 w 3791824"/>
                  <a:gd name="connsiteY0" fmla="*/ 328979 h 2182096"/>
                  <a:gd name="connsiteX1" fmla="*/ 251670 w 3791824"/>
                  <a:gd name="connsiteY1" fmla="*/ 285226 h 2182096"/>
                  <a:gd name="connsiteX2" fmla="*/ 1593908 w 3791824"/>
                  <a:gd name="connsiteY2" fmla="*/ 2181138 h 2182096"/>
                  <a:gd name="connsiteX3" fmla="*/ 3775046 w 3791824"/>
                  <a:gd name="connsiteY3" fmla="*/ 8389 h 2182096"/>
                  <a:gd name="connsiteX4" fmla="*/ 3775046 w 3791824"/>
                  <a:gd name="connsiteY4" fmla="*/ 8389 h 2182096"/>
                  <a:gd name="connsiteX5" fmla="*/ 3775046 w 3791824"/>
                  <a:gd name="connsiteY5" fmla="*/ 8389 h 2182096"/>
                  <a:gd name="connsiteX6" fmla="*/ 3791824 w 3791824"/>
                  <a:gd name="connsiteY6" fmla="*/ 0 h 2182096"/>
                  <a:gd name="connsiteX0" fmla="*/ 0 w 3884103"/>
                  <a:gd name="connsiteY0" fmla="*/ 308585 h 2182098"/>
                  <a:gd name="connsiteX1" fmla="*/ 343949 w 3884103"/>
                  <a:gd name="connsiteY1" fmla="*/ 285226 h 2182098"/>
                  <a:gd name="connsiteX2" fmla="*/ 1686187 w 3884103"/>
                  <a:gd name="connsiteY2" fmla="*/ 2181138 h 2182098"/>
                  <a:gd name="connsiteX3" fmla="*/ 3867325 w 3884103"/>
                  <a:gd name="connsiteY3" fmla="*/ 8389 h 2182098"/>
                  <a:gd name="connsiteX4" fmla="*/ 3867325 w 3884103"/>
                  <a:gd name="connsiteY4" fmla="*/ 8389 h 2182098"/>
                  <a:gd name="connsiteX5" fmla="*/ 3867325 w 3884103"/>
                  <a:gd name="connsiteY5" fmla="*/ 8389 h 2182098"/>
                  <a:gd name="connsiteX6" fmla="*/ 3884103 w 3884103"/>
                  <a:gd name="connsiteY6" fmla="*/ 0 h 2182098"/>
                  <a:gd name="connsiteX0" fmla="*/ 0 w 3825380"/>
                  <a:gd name="connsiteY0" fmla="*/ 216815 h 2182107"/>
                  <a:gd name="connsiteX1" fmla="*/ 285226 w 3825380"/>
                  <a:gd name="connsiteY1" fmla="*/ 285226 h 2182107"/>
                  <a:gd name="connsiteX2" fmla="*/ 1627464 w 3825380"/>
                  <a:gd name="connsiteY2" fmla="*/ 2181138 h 2182107"/>
                  <a:gd name="connsiteX3" fmla="*/ 3808602 w 3825380"/>
                  <a:gd name="connsiteY3" fmla="*/ 8389 h 2182107"/>
                  <a:gd name="connsiteX4" fmla="*/ 3808602 w 3825380"/>
                  <a:gd name="connsiteY4" fmla="*/ 8389 h 2182107"/>
                  <a:gd name="connsiteX5" fmla="*/ 3808602 w 3825380"/>
                  <a:gd name="connsiteY5" fmla="*/ 8389 h 2182107"/>
                  <a:gd name="connsiteX6" fmla="*/ 3825380 w 3825380"/>
                  <a:gd name="connsiteY6" fmla="*/ 0 h 2182107"/>
                  <a:gd name="connsiteX0" fmla="*/ 0 w 8735114"/>
                  <a:gd name="connsiteY0" fmla="*/ 1489270 h 2181997"/>
                  <a:gd name="connsiteX1" fmla="*/ 5194960 w 8735114"/>
                  <a:gd name="connsiteY1" fmla="*/ 285226 h 2181997"/>
                  <a:gd name="connsiteX2" fmla="*/ 6537198 w 8735114"/>
                  <a:gd name="connsiteY2" fmla="*/ 2181138 h 2181997"/>
                  <a:gd name="connsiteX3" fmla="*/ 8718336 w 8735114"/>
                  <a:gd name="connsiteY3" fmla="*/ 8389 h 2181997"/>
                  <a:gd name="connsiteX4" fmla="*/ 8718336 w 8735114"/>
                  <a:gd name="connsiteY4" fmla="*/ 8389 h 2181997"/>
                  <a:gd name="connsiteX5" fmla="*/ 8718336 w 8735114"/>
                  <a:gd name="connsiteY5" fmla="*/ 8389 h 2181997"/>
                  <a:gd name="connsiteX6" fmla="*/ 8735114 w 8735114"/>
                  <a:gd name="connsiteY6" fmla="*/ 0 h 2181997"/>
                  <a:gd name="connsiteX0" fmla="*/ 0 w 8735114"/>
                  <a:gd name="connsiteY0" fmla="*/ 1489270 h 2215322"/>
                  <a:gd name="connsiteX1" fmla="*/ 5194960 w 8735114"/>
                  <a:gd name="connsiteY1" fmla="*/ 285226 h 2215322"/>
                  <a:gd name="connsiteX2" fmla="*/ 5193858 w 8735114"/>
                  <a:gd name="connsiteY2" fmla="*/ 1265464 h 2215322"/>
                  <a:gd name="connsiteX3" fmla="*/ 6537198 w 8735114"/>
                  <a:gd name="connsiteY3" fmla="*/ 2181138 h 2215322"/>
                  <a:gd name="connsiteX4" fmla="*/ 8718336 w 8735114"/>
                  <a:gd name="connsiteY4" fmla="*/ 8389 h 2215322"/>
                  <a:gd name="connsiteX5" fmla="*/ 8718336 w 8735114"/>
                  <a:gd name="connsiteY5" fmla="*/ 8389 h 2215322"/>
                  <a:gd name="connsiteX6" fmla="*/ 8718336 w 8735114"/>
                  <a:gd name="connsiteY6" fmla="*/ 8389 h 2215322"/>
                  <a:gd name="connsiteX7" fmla="*/ 8735114 w 8735114"/>
                  <a:gd name="connsiteY7" fmla="*/ 0 h 2215322"/>
                  <a:gd name="connsiteX0" fmla="*/ 0 w 8735114"/>
                  <a:gd name="connsiteY0" fmla="*/ 1489270 h 2215322"/>
                  <a:gd name="connsiteX1" fmla="*/ 4592609 w 8735114"/>
                  <a:gd name="connsiteY1" fmla="*/ 371704 h 2215322"/>
                  <a:gd name="connsiteX2" fmla="*/ 5193858 w 8735114"/>
                  <a:gd name="connsiteY2" fmla="*/ 1265464 h 2215322"/>
                  <a:gd name="connsiteX3" fmla="*/ 6537198 w 8735114"/>
                  <a:gd name="connsiteY3" fmla="*/ 2181138 h 2215322"/>
                  <a:gd name="connsiteX4" fmla="*/ 8718336 w 8735114"/>
                  <a:gd name="connsiteY4" fmla="*/ 8389 h 2215322"/>
                  <a:gd name="connsiteX5" fmla="*/ 8718336 w 8735114"/>
                  <a:gd name="connsiteY5" fmla="*/ 8389 h 2215322"/>
                  <a:gd name="connsiteX6" fmla="*/ 8718336 w 8735114"/>
                  <a:gd name="connsiteY6" fmla="*/ 8389 h 2215322"/>
                  <a:gd name="connsiteX7" fmla="*/ 8735114 w 8735114"/>
                  <a:gd name="connsiteY7" fmla="*/ 0 h 2215322"/>
                  <a:gd name="connsiteX0" fmla="*/ 0 w 8735114"/>
                  <a:gd name="connsiteY0" fmla="*/ 1489270 h 2246496"/>
                  <a:gd name="connsiteX1" fmla="*/ 4592609 w 8735114"/>
                  <a:gd name="connsiteY1" fmla="*/ 371704 h 2246496"/>
                  <a:gd name="connsiteX2" fmla="*/ 5421161 w 8735114"/>
                  <a:gd name="connsiteY2" fmla="*/ 1555781 h 2246496"/>
                  <a:gd name="connsiteX3" fmla="*/ 6537198 w 8735114"/>
                  <a:gd name="connsiteY3" fmla="*/ 2181138 h 2246496"/>
                  <a:gd name="connsiteX4" fmla="*/ 8718336 w 8735114"/>
                  <a:gd name="connsiteY4" fmla="*/ 8389 h 2246496"/>
                  <a:gd name="connsiteX5" fmla="*/ 8718336 w 8735114"/>
                  <a:gd name="connsiteY5" fmla="*/ 8389 h 2246496"/>
                  <a:gd name="connsiteX6" fmla="*/ 8718336 w 8735114"/>
                  <a:gd name="connsiteY6" fmla="*/ 8389 h 2246496"/>
                  <a:gd name="connsiteX7" fmla="*/ 8735114 w 8735114"/>
                  <a:gd name="connsiteY7" fmla="*/ 0 h 2246496"/>
                  <a:gd name="connsiteX0" fmla="*/ 0 w 8735114"/>
                  <a:gd name="connsiteY0" fmla="*/ 1489270 h 2246496"/>
                  <a:gd name="connsiteX1" fmla="*/ 4592609 w 8735114"/>
                  <a:gd name="connsiteY1" fmla="*/ 371704 h 2246496"/>
                  <a:gd name="connsiteX2" fmla="*/ 5421161 w 8735114"/>
                  <a:gd name="connsiteY2" fmla="*/ 1555781 h 2246496"/>
                  <a:gd name="connsiteX3" fmla="*/ 6832692 w 8735114"/>
                  <a:gd name="connsiteY3" fmla="*/ 2181138 h 2246496"/>
                  <a:gd name="connsiteX4" fmla="*/ 8718336 w 8735114"/>
                  <a:gd name="connsiteY4" fmla="*/ 8389 h 2246496"/>
                  <a:gd name="connsiteX5" fmla="*/ 8718336 w 8735114"/>
                  <a:gd name="connsiteY5" fmla="*/ 8389 h 2246496"/>
                  <a:gd name="connsiteX6" fmla="*/ 8718336 w 8735114"/>
                  <a:gd name="connsiteY6" fmla="*/ 8389 h 2246496"/>
                  <a:gd name="connsiteX7" fmla="*/ 8735114 w 8735114"/>
                  <a:gd name="connsiteY7" fmla="*/ 0 h 2246496"/>
                  <a:gd name="connsiteX0" fmla="*/ 0 w 8735114"/>
                  <a:gd name="connsiteY0" fmla="*/ 1489270 h 2246496"/>
                  <a:gd name="connsiteX1" fmla="*/ 4592609 w 8735114"/>
                  <a:gd name="connsiteY1" fmla="*/ 371704 h 2246496"/>
                  <a:gd name="connsiteX2" fmla="*/ 5421161 w 8735114"/>
                  <a:gd name="connsiteY2" fmla="*/ 1555781 h 2246496"/>
                  <a:gd name="connsiteX3" fmla="*/ 6787232 w 8735114"/>
                  <a:gd name="connsiteY3" fmla="*/ 2181138 h 2246496"/>
                  <a:gd name="connsiteX4" fmla="*/ 8718336 w 8735114"/>
                  <a:gd name="connsiteY4" fmla="*/ 8389 h 2246496"/>
                  <a:gd name="connsiteX5" fmla="*/ 8718336 w 8735114"/>
                  <a:gd name="connsiteY5" fmla="*/ 8389 h 2246496"/>
                  <a:gd name="connsiteX6" fmla="*/ 8718336 w 8735114"/>
                  <a:gd name="connsiteY6" fmla="*/ 8389 h 2246496"/>
                  <a:gd name="connsiteX7" fmla="*/ 8735114 w 8735114"/>
                  <a:gd name="connsiteY7" fmla="*/ 0 h 2246496"/>
                  <a:gd name="connsiteX0" fmla="*/ 0 w 8735114"/>
                  <a:gd name="connsiteY0" fmla="*/ 1489270 h 2240607"/>
                  <a:gd name="connsiteX1" fmla="*/ 4592609 w 8735114"/>
                  <a:gd name="connsiteY1" fmla="*/ 371704 h 2240607"/>
                  <a:gd name="connsiteX2" fmla="*/ 5466622 w 8735114"/>
                  <a:gd name="connsiteY2" fmla="*/ 1512543 h 2240607"/>
                  <a:gd name="connsiteX3" fmla="*/ 6787232 w 8735114"/>
                  <a:gd name="connsiteY3" fmla="*/ 2181138 h 2240607"/>
                  <a:gd name="connsiteX4" fmla="*/ 8718336 w 8735114"/>
                  <a:gd name="connsiteY4" fmla="*/ 8389 h 2240607"/>
                  <a:gd name="connsiteX5" fmla="*/ 8718336 w 8735114"/>
                  <a:gd name="connsiteY5" fmla="*/ 8389 h 2240607"/>
                  <a:gd name="connsiteX6" fmla="*/ 8718336 w 8735114"/>
                  <a:gd name="connsiteY6" fmla="*/ 8389 h 2240607"/>
                  <a:gd name="connsiteX7" fmla="*/ 8735114 w 8735114"/>
                  <a:gd name="connsiteY7" fmla="*/ 0 h 2240607"/>
                  <a:gd name="connsiteX0" fmla="*/ 0 w 8735114"/>
                  <a:gd name="connsiteY0" fmla="*/ 1489270 h 2239808"/>
                  <a:gd name="connsiteX1" fmla="*/ 4592609 w 8735114"/>
                  <a:gd name="connsiteY1" fmla="*/ 371704 h 2239808"/>
                  <a:gd name="connsiteX2" fmla="*/ 5523447 w 8735114"/>
                  <a:gd name="connsiteY2" fmla="*/ 1506366 h 2239808"/>
                  <a:gd name="connsiteX3" fmla="*/ 6787232 w 8735114"/>
                  <a:gd name="connsiteY3" fmla="*/ 2181138 h 2239808"/>
                  <a:gd name="connsiteX4" fmla="*/ 8718336 w 8735114"/>
                  <a:gd name="connsiteY4" fmla="*/ 8389 h 2239808"/>
                  <a:gd name="connsiteX5" fmla="*/ 8718336 w 8735114"/>
                  <a:gd name="connsiteY5" fmla="*/ 8389 h 2239808"/>
                  <a:gd name="connsiteX6" fmla="*/ 8718336 w 8735114"/>
                  <a:gd name="connsiteY6" fmla="*/ 8389 h 2239808"/>
                  <a:gd name="connsiteX7" fmla="*/ 8735114 w 8735114"/>
                  <a:gd name="connsiteY7" fmla="*/ 0 h 2239808"/>
                  <a:gd name="connsiteX0" fmla="*/ 0 w 8735114"/>
                  <a:gd name="connsiteY0" fmla="*/ 1489270 h 2183045"/>
                  <a:gd name="connsiteX1" fmla="*/ 4592609 w 8735114"/>
                  <a:gd name="connsiteY1" fmla="*/ 371704 h 2183045"/>
                  <a:gd name="connsiteX2" fmla="*/ 5523447 w 8735114"/>
                  <a:gd name="connsiteY2" fmla="*/ 1506366 h 2183045"/>
                  <a:gd name="connsiteX3" fmla="*/ 6787232 w 8735114"/>
                  <a:gd name="connsiteY3" fmla="*/ 2181138 h 2183045"/>
                  <a:gd name="connsiteX4" fmla="*/ 7540764 w 8735114"/>
                  <a:gd name="connsiteY4" fmla="*/ 1647511 h 2183045"/>
                  <a:gd name="connsiteX5" fmla="*/ 8718336 w 8735114"/>
                  <a:gd name="connsiteY5" fmla="*/ 8389 h 2183045"/>
                  <a:gd name="connsiteX6" fmla="*/ 8718336 w 8735114"/>
                  <a:gd name="connsiteY6" fmla="*/ 8389 h 2183045"/>
                  <a:gd name="connsiteX7" fmla="*/ 8718336 w 8735114"/>
                  <a:gd name="connsiteY7" fmla="*/ 8389 h 2183045"/>
                  <a:gd name="connsiteX8" fmla="*/ 8735114 w 8735114"/>
                  <a:gd name="connsiteY8" fmla="*/ 0 h 2183045"/>
                  <a:gd name="connsiteX0" fmla="*/ 0 w 8735114"/>
                  <a:gd name="connsiteY0" fmla="*/ 1489270 h 2238213"/>
                  <a:gd name="connsiteX1" fmla="*/ 4592609 w 8735114"/>
                  <a:gd name="connsiteY1" fmla="*/ 371704 h 2238213"/>
                  <a:gd name="connsiteX2" fmla="*/ 5523447 w 8735114"/>
                  <a:gd name="connsiteY2" fmla="*/ 1506366 h 2238213"/>
                  <a:gd name="connsiteX3" fmla="*/ 6334708 w 8735114"/>
                  <a:gd name="connsiteY3" fmla="*/ 2147041 h 2238213"/>
                  <a:gd name="connsiteX4" fmla="*/ 6787232 w 8735114"/>
                  <a:gd name="connsiteY4" fmla="*/ 2181138 h 2238213"/>
                  <a:gd name="connsiteX5" fmla="*/ 7540764 w 8735114"/>
                  <a:gd name="connsiteY5" fmla="*/ 1647511 h 2238213"/>
                  <a:gd name="connsiteX6" fmla="*/ 8718336 w 8735114"/>
                  <a:gd name="connsiteY6" fmla="*/ 8389 h 2238213"/>
                  <a:gd name="connsiteX7" fmla="*/ 8718336 w 8735114"/>
                  <a:gd name="connsiteY7" fmla="*/ 8389 h 2238213"/>
                  <a:gd name="connsiteX8" fmla="*/ 8718336 w 8735114"/>
                  <a:gd name="connsiteY8" fmla="*/ 8389 h 2238213"/>
                  <a:gd name="connsiteX9" fmla="*/ 8735114 w 8735114"/>
                  <a:gd name="connsiteY9" fmla="*/ 0 h 2238213"/>
                  <a:gd name="connsiteX0" fmla="*/ 0 w 8735114"/>
                  <a:gd name="connsiteY0" fmla="*/ 1489270 h 2238213"/>
                  <a:gd name="connsiteX1" fmla="*/ 4592609 w 8735114"/>
                  <a:gd name="connsiteY1" fmla="*/ 371704 h 2238213"/>
                  <a:gd name="connsiteX2" fmla="*/ 5699086 w 8735114"/>
                  <a:gd name="connsiteY2" fmla="*/ 1484957 h 2238213"/>
                  <a:gd name="connsiteX3" fmla="*/ 6334708 w 8735114"/>
                  <a:gd name="connsiteY3" fmla="*/ 2147041 h 2238213"/>
                  <a:gd name="connsiteX4" fmla="*/ 6787232 w 8735114"/>
                  <a:gd name="connsiteY4" fmla="*/ 2181138 h 2238213"/>
                  <a:gd name="connsiteX5" fmla="*/ 7540764 w 8735114"/>
                  <a:gd name="connsiteY5" fmla="*/ 1647511 h 2238213"/>
                  <a:gd name="connsiteX6" fmla="*/ 8718336 w 8735114"/>
                  <a:gd name="connsiteY6" fmla="*/ 8389 h 2238213"/>
                  <a:gd name="connsiteX7" fmla="*/ 8718336 w 8735114"/>
                  <a:gd name="connsiteY7" fmla="*/ 8389 h 2238213"/>
                  <a:gd name="connsiteX8" fmla="*/ 8718336 w 8735114"/>
                  <a:gd name="connsiteY8" fmla="*/ 8389 h 2238213"/>
                  <a:gd name="connsiteX9" fmla="*/ 8735114 w 8735114"/>
                  <a:gd name="connsiteY9" fmla="*/ 0 h 2238213"/>
                  <a:gd name="connsiteX0" fmla="*/ 0 w 8735114"/>
                  <a:gd name="connsiteY0" fmla="*/ 1489270 h 2238213"/>
                  <a:gd name="connsiteX1" fmla="*/ 3009275 w 8735114"/>
                  <a:gd name="connsiteY1" fmla="*/ 455772 h 2238213"/>
                  <a:gd name="connsiteX2" fmla="*/ 4592609 w 8735114"/>
                  <a:gd name="connsiteY2" fmla="*/ 371704 h 2238213"/>
                  <a:gd name="connsiteX3" fmla="*/ 5699086 w 8735114"/>
                  <a:gd name="connsiteY3" fmla="*/ 1484957 h 2238213"/>
                  <a:gd name="connsiteX4" fmla="*/ 6334708 w 8735114"/>
                  <a:gd name="connsiteY4" fmla="*/ 2147041 h 2238213"/>
                  <a:gd name="connsiteX5" fmla="*/ 6787232 w 8735114"/>
                  <a:gd name="connsiteY5" fmla="*/ 2181138 h 2238213"/>
                  <a:gd name="connsiteX6" fmla="*/ 7540764 w 8735114"/>
                  <a:gd name="connsiteY6" fmla="*/ 1647511 h 2238213"/>
                  <a:gd name="connsiteX7" fmla="*/ 8718336 w 8735114"/>
                  <a:gd name="connsiteY7" fmla="*/ 8389 h 2238213"/>
                  <a:gd name="connsiteX8" fmla="*/ 8718336 w 8735114"/>
                  <a:gd name="connsiteY8" fmla="*/ 8389 h 2238213"/>
                  <a:gd name="connsiteX9" fmla="*/ 8718336 w 8735114"/>
                  <a:gd name="connsiteY9" fmla="*/ 8389 h 2238213"/>
                  <a:gd name="connsiteX10" fmla="*/ 8735114 w 8735114"/>
                  <a:gd name="connsiteY10" fmla="*/ 0 h 2238213"/>
                  <a:gd name="connsiteX0" fmla="*/ 0 w 8735114"/>
                  <a:gd name="connsiteY0" fmla="*/ 1489270 h 2238213"/>
                  <a:gd name="connsiteX1" fmla="*/ 1299720 w 8735114"/>
                  <a:gd name="connsiteY1" fmla="*/ 769763 h 2238213"/>
                  <a:gd name="connsiteX2" fmla="*/ 3009275 w 8735114"/>
                  <a:gd name="connsiteY2" fmla="*/ 455772 h 2238213"/>
                  <a:gd name="connsiteX3" fmla="*/ 4592609 w 8735114"/>
                  <a:gd name="connsiteY3" fmla="*/ 371704 h 2238213"/>
                  <a:gd name="connsiteX4" fmla="*/ 5699086 w 8735114"/>
                  <a:gd name="connsiteY4" fmla="*/ 1484957 h 2238213"/>
                  <a:gd name="connsiteX5" fmla="*/ 6334708 w 8735114"/>
                  <a:gd name="connsiteY5" fmla="*/ 2147041 h 2238213"/>
                  <a:gd name="connsiteX6" fmla="*/ 6787232 w 8735114"/>
                  <a:gd name="connsiteY6" fmla="*/ 2181138 h 2238213"/>
                  <a:gd name="connsiteX7" fmla="*/ 7540764 w 8735114"/>
                  <a:gd name="connsiteY7" fmla="*/ 1647511 h 2238213"/>
                  <a:gd name="connsiteX8" fmla="*/ 8718336 w 8735114"/>
                  <a:gd name="connsiteY8" fmla="*/ 8389 h 2238213"/>
                  <a:gd name="connsiteX9" fmla="*/ 8718336 w 8735114"/>
                  <a:gd name="connsiteY9" fmla="*/ 8389 h 2238213"/>
                  <a:gd name="connsiteX10" fmla="*/ 8718336 w 8735114"/>
                  <a:gd name="connsiteY10" fmla="*/ 8389 h 2238213"/>
                  <a:gd name="connsiteX11" fmla="*/ 8735114 w 8735114"/>
                  <a:gd name="connsiteY11" fmla="*/ 0 h 2238213"/>
                  <a:gd name="connsiteX0" fmla="*/ 0 w 9613309"/>
                  <a:gd name="connsiteY0" fmla="*/ 889834 h 2238213"/>
                  <a:gd name="connsiteX1" fmla="*/ 2177915 w 9613309"/>
                  <a:gd name="connsiteY1" fmla="*/ 769763 h 2238213"/>
                  <a:gd name="connsiteX2" fmla="*/ 3887470 w 9613309"/>
                  <a:gd name="connsiteY2" fmla="*/ 455772 h 2238213"/>
                  <a:gd name="connsiteX3" fmla="*/ 5470804 w 9613309"/>
                  <a:gd name="connsiteY3" fmla="*/ 371704 h 2238213"/>
                  <a:gd name="connsiteX4" fmla="*/ 6577281 w 9613309"/>
                  <a:gd name="connsiteY4" fmla="*/ 1484957 h 2238213"/>
                  <a:gd name="connsiteX5" fmla="*/ 7212903 w 9613309"/>
                  <a:gd name="connsiteY5" fmla="*/ 2147041 h 2238213"/>
                  <a:gd name="connsiteX6" fmla="*/ 7665427 w 9613309"/>
                  <a:gd name="connsiteY6" fmla="*/ 2181138 h 2238213"/>
                  <a:gd name="connsiteX7" fmla="*/ 8418959 w 9613309"/>
                  <a:gd name="connsiteY7" fmla="*/ 1647511 h 2238213"/>
                  <a:gd name="connsiteX8" fmla="*/ 9596531 w 9613309"/>
                  <a:gd name="connsiteY8" fmla="*/ 8389 h 2238213"/>
                  <a:gd name="connsiteX9" fmla="*/ 9596531 w 9613309"/>
                  <a:gd name="connsiteY9" fmla="*/ 8389 h 2238213"/>
                  <a:gd name="connsiteX10" fmla="*/ 9596531 w 9613309"/>
                  <a:gd name="connsiteY10" fmla="*/ 8389 h 2238213"/>
                  <a:gd name="connsiteX11" fmla="*/ 9613309 w 9613309"/>
                  <a:gd name="connsiteY11" fmla="*/ 0 h 2238213"/>
                  <a:gd name="connsiteX0" fmla="*/ 0 w 9613309"/>
                  <a:gd name="connsiteY0" fmla="*/ 889834 h 2238213"/>
                  <a:gd name="connsiteX1" fmla="*/ 2177915 w 9613309"/>
                  <a:gd name="connsiteY1" fmla="*/ 769763 h 2238213"/>
                  <a:gd name="connsiteX2" fmla="*/ 3887470 w 9613309"/>
                  <a:gd name="connsiteY2" fmla="*/ 455772 h 2238213"/>
                  <a:gd name="connsiteX3" fmla="*/ 5470804 w 9613309"/>
                  <a:gd name="connsiteY3" fmla="*/ 371704 h 2238213"/>
                  <a:gd name="connsiteX4" fmla="*/ 5983430 w 9613309"/>
                  <a:gd name="connsiteY4" fmla="*/ 527134 h 2238213"/>
                  <a:gd name="connsiteX5" fmla="*/ 6577281 w 9613309"/>
                  <a:gd name="connsiteY5" fmla="*/ 1484957 h 2238213"/>
                  <a:gd name="connsiteX6" fmla="*/ 7212903 w 9613309"/>
                  <a:gd name="connsiteY6" fmla="*/ 2147041 h 2238213"/>
                  <a:gd name="connsiteX7" fmla="*/ 7665427 w 9613309"/>
                  <a:gd name="connsiteY7" fmla="*/ 2181138 h 2238213"/>
                  <a:gd name="connsiteX8" fmla="*/ 8418959 w 9613309"/>
                  <a:gd name="connsiteY8" fmla="*/ 1647511 h 2238213"/>
                  <a:gd name="connsiteX9" fmla="*/ 9596531 w 9613309"/>
                  <a:gd name="connsiteY9" fmla="*/ 8389 h 2238213"/>
                  <a:gd name="connsiteX10" fmla="*/ 9596531 w 9613309"/>
                  <a:gd name="connsiteY10" fmla="*/ 8389 h 2238213"/>
                  <a:gd name="connsiteX11" fmla="*/ 9596531 w 9613309"/>
                  <a:gd name="connsiteY11" fmla="*/ 8389 h 2238213"/>
                  <a:gd name="connsiteX12" fmla="*/ 9613309 w 9613309"/>
                  <a:gd name="connsiteY12" fmla="*/ 0 h 2238213"/>
                  <a:gd name="connsiteX0" fmla="*/ 0 w 9613309"/>
                  <a:gd name="connsiteY0" fmla="*/ 889834 h 2238213"/>
                  <a:gd name="connsiteX1" fmla="*/ 2177915 w 9613309"/>
                  <a:gd name="connsiteY1" fmla="*/ 769763 h 2238213"/>
                  <a:gd name="connsiteX2" fmla="*/ 3887470 w 9613309"/>
                  <a:gd name="connsiteY2" fmla="*/ 455772 h 2238213"/>
                  <a:gd name="connsiteX3" fmla="*/ 5081816 w 9613309"/>
                  <a:gd name="connsiteY3" fmla="*/ 313049 h 2238213"/>
                  <a:gd name="connsiteX4" fmla="*/ 5470804 w 9613309"/>
                  <a:gd name="connsiteY4" fmla="*/ 371704 h 2238213"/>
                  <a:gd name="connsiteX5" fmla="*/ 5983430 w 9613309"/>
                  <a:gd name="connsiteY5" fmla="*/ 527134 h 2238213"/>
                  <a:gd name="connsiteX6" fmla="*/ 6577281 w 9613309"/>
                  <a:gd name="connsiteY6" fmla="*/ 1484957 h 2238213"/>
                  <a:gd name="connsiteX7" fmla="*/ 7212903 w 9613309"/>
                  <a:gd name="connsiteY7" fmla="*/ 2147041 h 2238213"/>
                  <a:gd name="connsiteX8" fmla="*/ 7665427 w 9613309"/>
                  <a:gd name="connsiteY8" fmla="*/ 2181138 h 2238213"/>
                  <a:gd name="connsiteX9" fmla="*/ 8418959 w 9613309"/>
                  <a:gd name="connsiteY9" fmla="*/ 1647511 h 2238213"/>
                  <a:gd name="connsiteX10" fmla="*/ 9596531 w 9613309"/>
                  <a:gd name="connsiteY10" fmla="*/ 8389 h 2238213"/>
                  <a:gd name="connsiteX11" fmla="*/ 9596531 w 9613309"/>
                  <a:gd name="connsiteY11" fmla="*/ 8389 h 2238213"/>
                  <a:gd name="connsiteX12" fmla="*/ 9596531 w 9613309"/>
                  <a:gd name="connsiteY12" fmla="*/ 8389 h 2238213"/>
                  <a:gd name="connsiteX13" fmla="*/ 9613309 w 9613309"/>
                  <a:gd name="connsiteY13" fmla="*/ 0 h 2238213"/>
                  <a:gd name="connsiteX0" fmla="*/ 0 w 9613309"/>
                  <a:gd name="connsiteY0" fmla="*/ 889834 h 2238213"/>
                  <a:gd name="connsiteX1" fmla="*/ 2177915 w 9613309"/>
                  <a:gd name="connsiteY1" fmla="*/ 769763 h 2238213"/>
                  <a:gd name="connsiteX2" fmla="*/ 3887470 w 9613309"/>
                  <a:gd name="connsiteY2" fmla="*/ 455772 h 2238213"/>
                  <a:gd name="connsiteX3" fmla="*/ 5081816 w 9613309"/>
                  <a:gd name="connsiteY3" fmla="*/ 313049 h 2238213"/>
                  <a:gd name="connsiteX4" fmla="*/ 5541060 w 9613309"/>
                  <a:gd name="connsiteY4" fmla="*/ 314615 h 2238213"/>
                  <a:gd name="connsiteX5" fmla="*/ 5983430 w 9613309"/>
                  <a:gd name="connsiteY5" fmla="*/ 527134 h 2238213"/>
                  <a:gd name="connsiteX6" fmla="*/ 6577281 w 9613309"/>
                  <a:gd name="connsiteY6" fmla="*/ 1484957 h 2238213"/>
                  <a:gd name="connsiteX7" fmla="*/ 7212903 w 9613309"/>
                  <a:gd name="connsiteY7" fmla="*/ 2147041 h 2238213"/>
                  <a:gd name="connsiteX8" fmla="*/ 7665427 w 9613309"/>
                  <a:gd name="connsiteY8" fmla="*/ 2181138 h 2238213"/>
                  <a:gd name="connsiteX9" fmla="*/ 8418959 w 9613309"/>
                  <a:gd name="connsiteY9" fmla="*/ 1647511 h 2238213"/>
                  <a:gd name="connsiteX10" fmla="*/ 9596531 w 9613309"/>
                  <a:gd name="connsiteY10" fmla="*/ 8389 h 2238213"/>
                  <a:gd name="connsiteX11" fmla="*/ 9596531 w 9613309"/>
                  <a:gd name="connsiteY11" fmla="*/ 8389 h 2238213"/>
                  <a:gd name="connsiteX12" fmla="*/ 9596531 w 9613309"/>
                  <a:gd name="connsiteY12" fmla="*/ 8389 h 2238213"/>
                  <a:gd name="connsiteX13" fmla="*/ 9613309 w 9613309"/>
                  <a:gd name="connsiteY13" fmla="*/ 0 h 2238213"/>
                  <a:gd name="connsiteX0" fmla="*/ 0 w 9613309"/>
                  <a:gd name="connsiteY0" fmla="*/ 889834 h 2238213"/>
                  <a:gd name="connsiteX1" fmla="*/ 2177915 w 9613309"/>
                  <a:gd name="connsiteY1" fmla="*/ 769763 h 2238213"/>
                  <a:gd name="connsiteX2" fmla="*/ 3887470 w 9613309"/>
                  <a:gd name="connsiteY2" fmla="*/ 455772 h 2238213"/>
                  <a:gd name="connsiteX3" fmla="*/ 4461224 w 9613309"/>
                  <a:gd name="connsiteY3" fmla="*/ 355866 h 2238213"/>
                  <a:gd name="connsiteX4" fmla="*/ 5081816 w 9613309"/>
                  <a:gd name="connsiteY4" fmla="*/ 313049 h 2238213"/>
                  <a:gd name="connsiteX5" fmla="*/ 5541060 w 9613309"/>
                  <a:gd name="connsiteY5" fmla="*/ 314615 h 2238213"/>
                  <a:gd name="connsiteX6" fmla="*/ 5983430 w 9613309"/>
                  <a:gd name="connsiteY6" fmla="*/ 527134 h 2238213"/>
                  <a:gd name="connsiteX7" fmla="*/ 6577281 w 9613309"/>
                  <a:gd name="connsiteY7" fmla="*/ 1484957 h 2238213"/>
                  <a:gd name="connsiteX8" fmla="*/ 7212903 w 9613309"/>
                  <a:gd name="connsiteY8" fmla="*/ 2147041 h 2238213"/>
                  <a:gd name="connsiteX9" fmla="*/ 7665427 w 9613309"/>
                  <a:gd name="connsiteY9" fmla="*/ 2181138 h 2238213"/>
                  <a:gd name="connsiteX10" fmla="*/ 8418959 w 9613309"/>
                  <a:gd name="connsiteY10" fmla="*/ 1647511 h 2238213"/>
                  <a:gd name="connsiteX11" fmla="*/ 9596531 w 9613309"/>
                  <a:gd name="connsiteY11" fmla="*/ 8389 h 2238213"/>
                  <a:gd name="connsiteX12" fmla="*/ 9596531 w 9613309"/>
                  <a:gd name="connsiteY12" fmla="*/ 8389 h 2238213"/>
                  <a:gd name="connsiteX13" fmla="*/ 9596531 w 9613309"/>
                  <a:gd name="connsiteY13" fmla="*/ 8389 h 2238213"/>
                  <a:gd name="connsiteX14" fmla="*/ 9613309 w 9613309"/>
                  <a:gd name="connsiteY14" fmla="*/ 0 h 2238213"/>
                  <a:gd name="connsiteX0" fmla="*/ 0 w 9613309"/>
                  <a:gd name="connsiteY0" fmla="*/ 889834 h 2238213"/>
                  <a:gd name="connsiteX1" fmla="*/ 1768090 w 9613309"/>
                  <a:gd name="connsiteY1" fmla="*/ 819717 h 2238213"/>
                  <a:gd name="connsiteX2" fmla="*/ 2177915 w 9613309"/>
                  <a:gd name="connsiteY2" fmla="*/ 769763 h 2238213"/>
                  <a:gd name="connsiteX3" fmla="*/ 3887470 w 9613309"/>
                  <a:gd name="connsiteY3" fmla="*/ 455772 h 2238213"/>
                  <a:gd name="connsiteX4" fmla="*/ 4461224 w 9613309"/>
                  <a:gd name="connsiteY4" fmla="*/ 355866 h 2238213"/>
                  <a:gd name="connsiteX5" fmla="*/ 5081816 w 9613309"/>
                  <a:gd name="connsiteY5" fmla="*/ 313049 h 2238213"/>
                  <a:gd name="connsiteX6" fmla="*/ 5541060 w 9613309"/>
                  <a:gd name="connsiteY6" fmla="*/ 314615 h 2238213"/>
                  <a:gd name="connsiteX7" fmla="*/ 5983430 w 9613309"/>
                  <a:gd name="connsiteY7" fmla="*/ 527134 h 2238213"/>
                  <a:gd name="connsiteX8" fmla="*/ 6577281 w 9613309"/>
                  <a:gd name="connsiteY8" fmla="*/ 1484957 h 2238213"/>
                  <a:gd name="connsiteX9" fmla="*/ 7212903 w 9613309"/>
                  <a:gd name="connsiteY9" fmla="*/ 2147041 h 2238213"/>
                  <a:gd name="connsiteX10" fmla="*/ 7665427 w 9613309"/>
                  <a:gd name="connsiteY10" fmla="*/ 2181138 h 2238213"/>
                  <a:gd name="connsiteX11" fmla="*/ 8418959 w 9613309"/>
                  <a:gd name="connsiteY11" fmla="*/ 1647511 h 2238213"/>
                  <a:gd name="connsiteX12" fmla="*/ 9596531 w 9613309"/>
                  <a:gd name="connsiteY12" fmla="*/ 8389 h 2238213"/>
                  <a:gd name="connsiteX13" fmla="*/ 9596531 w 9613309"/>
                  <a:gd name="connsiteY13" fmla="*/ 8389 h 2238213"/>
                  <a:gd name="connsiteX14" fmla="*/ 9596531 w 9613309"/>
                  <a:gd name="connsiteY14" fmla="*/ 8389 h 2238213"/>
                  <a:gd name="connsiteX15" fmla="*/ 9613309 w 9613309"/>
                  <a:gd name="connsiteY15" fmla="*/ 0 h 2238213"/>
                  <a:gd name="connsiteX0" fmla="*/ 0 w 9613309"/>
                  <a:gd name="connsiteY0" fmla="*/ 889834 h 2238213"/>
                  <a:gd name="connsiteX1" fmla="*/ 1768090 w 9613309"/>
                  <a:gd name="connsiteY1" fmla="*/ 819717 h 2238213"/>
                  <a:gd name="connsiteX2" fmla="*/ 2002276 w 9613309"/>
                  <a:gd name="connsiteY2" fmla="*/ 791172 h 2238213"/>
                  <a:gd name="connsiteX3" fmla="*/ 2177915 w 9613309"/>
                  <a:gd name="connsiteY3" fmla="*/ 769763 h 2238213"/>
                  <a:gd name="connsiteX4" fmla="*/ 3887470 w 9613309"/>
                  <a:gd name="connsiteY4" fmla="*/ 455772 h 2238213"/>
                  <a:gd name="connsiteX5" fmla="*/ 4461224 w 9613309"/>
                  <a:gd name="connsiteY5" fmla="*/ 355866 h 2238213"/>
                  <a:gd name="connsiteX6" fmla="*/ 5081816 w 9613309"/>
                  <a:gd name="connsiteY6" fmla="*/ 313049 h 2238213"/>
                  <a:gd name="connsiteX7" fmla="*/ 5541060 w 9613309"/>
                  <a:gd name="connsiteY7" fmla="*/ 314615 h 2238213"/>
                  <a:gd name="connsiteX8" fmla="*/ 5983430 w 9613309"/>
                  <a:gd name="connsiteY8" fmla="*/ 527134 h 2238213"/>
                  <a:gd name="connsiteX9" fmla="*/ 6577281 w 9613309"/>
                  <a:gd name="connsiteY9" fmla="*/ 1484957 h 2238213"/>
                  <a:gd name="connsiteX10" fmla="*/ 7212903 w 9613309"/>
                  <a:gd name="connsiteY10" fmla="*/ 2147041 h 2238213"/>
                  <a:gd name="connsiteX11" fmla="*/ 7665427 w 9613309"/>
                  <a:gd name="connsiteY11" fmla="*/ 2181138 h 2238213"/>
                  <a:gd name="connsiteX12" fmla="*/ 8418959 w 9613309"/>
                  <a:gd name="connsiteY12" fmla="*/ 1647511 h 2238213"/>
                  <a:gd name="connsiteX13" fmla="*/ 9596531 w 9613309"/>
                  <a:gd name="connsiteY13" fmla="*/ 8389 h 2238213"/>
                  <a:gd name="connsiteX14" fmla="*/ 9596531 w 9613309"/>
                  <a:gd name="connsiteY14" fmla="*/ 8389 h 2238213"/>
                  <a:gd name="connsiteX15" fmla="*/ 9596531 w 9613309"/>
                  <a:gd name="connsiteY15" fmla="*/ 8389 h 2238213"/>
                  <a:gd name="connsiteX16" fmla="*/ 9613309 w 9613309"/>
                  <a:gd name="connsiteY16" fmla="*/ 0 h 2238213"/>
                  <a:gd name="connsiteX0" fmla="*/ 0 w 9613309"/>
                  <a:gd name="connsiteY0" fmla="*/ 889834 h 2238213"/>
                  <a:gd name="connsiteX1" fmla="*/ 1768090 w 9613309"/>
                  <a:gd name="connsiteY1" fmla="*/ 819717 h 2238213"/>
                  <a:gd name="connsiteX2" fmla="*/ 1794177 w 9613309"/>
                  <a:gd name="connsiteY2" fmla="*/ 819717 h 2238213"/>
                  <a:gd name="connsiteX3" fmla="*/ 2177915 w 9613309"/>
                  <a:gd name="connsiteY3" fmla="*/ 769763 h 2238213"/>
                  <a:gd name="connsiteX4" fmla="*/ 3887470 w 9613309"/>
                  <a:gd name="connsiteY4" fmla="*/ 455772 h 2238213"/>
                  <a:gd name="connsiteX5" fmla="*/ 4461224 w 9613309"/>
                  <a:gd name="connsiteY5" fmla="*/ 355866 h 2238213"/>
                  <a:gd name="connsiteX6" fmla="*/ 5081816 w 9613309"/>
                  <a:gd name="connsiteY6" fmla="*/ 313049 h 2238213"/>
                  <a:gd name="connsiteX7" fmla="*/ 5541060 w 9613309"/>
                  <a:gd name="connsiteY7" fmla="*/ 314615 h 2238213"/>
                  <a:gd name="connsiteX8" fmla="*/ 5983430 w 9613309"/>
                  <a:gd name="connsiteY8" fmla="*/ 527134 h 2238213"/>
                  <a:gd name="connsiteX9" fmla="*/ 6577281 w 9613309"/>
                  <a:gd name="connsiteY9" fmla="*/ 1484957 h 2238213"/>
                  <a:gd name="connsiteX10" fmla="*/ 7212903 w 9613309"/>
                  <a:gd name="connsiteY10" fmla="*/ 2147041 h 2238213"/>
                  <a:gd name="connsiteX11" fmla="*/ 7665427 w 9613309"/>
                  <a:gd name="connsiteY11" fmla="*/ 2181138 h 2238213"/>
                  <a:gd name="connsiteX12" fmla="*/ 8418959 w 9613309"/>
                  <a:gd name="connsiteY12" fmla="*/ 1647511 h 2238213"/>
                  <a:gd name="connsiteX13" fmla="*/ 9596531 w 9613309"/>
                  <a:gd name="connsiteY13" fmla="*/ 8389 h 2238213"/>
                  <a:gd name="connsiteX14" fmla="*/ 9596531 w 9613309"/>
                  <a:gd name="connsiteY14" fmla="*/ 8389 h 2238213"/>
                  <a:gd name="connsiteX15" fmla="*/ 9596531 w 9613309"/>
                  <a:gd name="connsiteY15" fmla="*/ 8389 h 2238213"/>
                  <a:gd name="connsiteX16" fmla="*/ 9613309 w 9613309"/>
                  <a:gd name="connsiteY16" fmla="*/ 0 h 2238213"/>
                  <a:gd name="connsiteX0" fmla="*/ 0 w 9613309"/>
                  <a:gd name="connsiteY0" fmla="*/ 889834 h 2238213"/>
                  <a:gd name="connsiteX1" fmla="*/ 1160503 w 9613309"/>
                  <a:gd name="connsiteY1" fmla="*/ 855397 h 2238213"/>
                  <a:gd name="connsiteX2" fmla="*/ 1768090 w 9613309"/>
                  <a:gd name="connsiteY2" fmla="*/ 819717 h 2238213"/>
                  <a:gd name="connsiteX3" fmla="*/ 1794177 w 9613309"/>
                  <a:gd name="connsiteY3" fmla="*/ 819717 h 2238213"/>
                  <a:gd name="connsiteX4" fmla="*/ 2177915 w 9613309"/>
                  <a:gd name="connsiteY4" fmla="*/ 769763 h 2238213"/>
                  <a:gd name="connsiteX5" fmla="*/ 3887470 w 9613309"/>
                  <a:gd name="connsiteY5" fmla="*/ 455772 h 2238213"/>
                  <a:gd name="connsiteX6" fmla="*/ 4461224 w 9613309"/>
                  <a:gd name="connsiteY6" fmla="*/ 355866 h 2238213"/>
                  <a:gd name="connsiteX7" fmla="*/ 5081816 w 9613309"/>
                  <a:gd name="connsiteY7" fmla="*/ 313049 h 2238213"/>
                  <a:gd name="connsiteX8" fmla="*/ 5541060 w 9613309"/>
                  <a:gd name="connsiteY8" fmla="*/ 314615 h 2238213"/>
                  <a:gd name="connsiteX9" fmla="*/ 5983430 w 9613309"/>
                  <a:gd name="connsiteY9" fmla="*/ 527134 h 2238213"/>
                  <a:gd name="connsiteX10" fmla="*/ 6577281 w 9613309"/>
                  <a:gd name="connsiteY10" fmla="*/ 1484957 h 2238213"/>
                  <a:gd name="connsiteX11" fmla="*/ 7212903 w 9613309"/>
                  <a:gd name="connsiteY11" fmla="*/ 2147041 h 2238213"/>
                  <a:gd name="connsiteX12" fmla="*/ 7665427 w 9613309"/>
                  <a:gd name="connsiteY12" fmla="*/ 2181138 h 2238213"/>
                  <a:gd name="connsiteX13" fmla="*/ 8418959 w 9613309"/>
                  <a:gd name="connsiteY13" fmla="*/ 1647511 h 2238213"/>
                  <a:gd name="connsiteX14" fmla="*/ 9596531 w 9613309"/>
                  <a:gd name="connsiteY14" fmla="*/ 8389 h 2238213"/>
                  <a:gd name="connsiteX15" fmla="*/ 9596531 w 9613309"/>
                  <a:gd name="connsiteY15" fmla="*/ 8389 h 2238213"/>
                  <a:gd name="connsiteX16" fmla="*/ 9596531 w 9613309"/>
                  <a:gd name="connsiteY16" fmla="*/ 8389 h 2238213"/>
                  <a:gd name="connsiteX17" fmla="*/ 9613309 w 9613309"/>
                  <a:gd name="connsiteY17" fmla="*/ 0 h 2238213"/>
                  <a:gd name="connsiteX0" fmla="*/ 0 w 9613309"/>
                  <a:gd name="connsiteY0" fmla="*/ 889834 h 2238213"/>
                  <a:gd name="connsiteX1" fmla="*/ 1160503 w 9613309"/>
                  <a:gd name="connsiteY1" fmla="*/ 876806 h 2238213"/>
                  <a:gd name="connsiteX2" fmla="*/ 1768090 w 9613309"/>
                  <a:gd name="connsiteY2" fmla="*/ 819717 h 2238213"/>
                  <a:gd name="connsiteX3" fmla="*/ 1794177 w 9613309"/>
                  <a:gd name="connsiteY3" fmla="*/ 819717 h 2238213"/>
                  <a:gd name="connsiteX4" fmla="*/ 2177915 w 9613309"/>
                  <a:gd name="connsiteY4" fmla="*/ 769763 h 2238213"/>
                  <a:gd name="connsiteX5" fmla="*/ 3887470 w 9613309"/>
                  <a:gd name="connsiteY5" fmla="*/ 455772 h 2238213"/>
                  <a:gd name="connsiteX6" fmla="*/ 4461224 w 9613309"/>
                  <a:gd name="connsiteY6" fmla="*/ 355866 h 2238213"/>
                  <a:gd name="connsiteX7" fmla="*/ 5081816 w 9613309"/>
                  <a:gd name="connsiteY7" fmla="*/ 313049 h 2238213"/>
                  <a:gd name="connsiteX8" fmla="*/ 5541060 w 9613309"/>
                  <a:gd name="connsiteY8" fmla="*/ 314615 h 2238213"/>
                  <a:gd name="connsiteX9" fmla="*/ 5983430 w 9613309"/>
                  <a:gd name="connsiteY9" fmla="*/ 527134 h 2238213"/>
                  <a:gd name="connsiteX10" fmla="*/ 6577281 w 9613309"/>
                  <a:gd name="connsiteY10" fmla="*/ 1484957 h 2238213"/>
                  <a:gd name="connsiteX11" fmla="*/ 7212903 w 9613309"/>
                  <a:gd name="connsiteY11" fmla="*/ 2147041 h 2238213"/>
                  <a:gd name="connsiteX12" fmla="*/ 7665427 w 9613309"/>
                  <a:gd name="connsiteY12" fmla="*/ 2181138 h 2238213"/>
                  <a:gd name="connsiteX13" fmla="*/ 8418959 w 9613309"/>
                  <a:gd name="connsiteY13" fmla="*/ 1647511 h 2238213"/>
                  <a:gd name="connsiteX14" fmla="*/ 9596531 w 9613309"/>
                  <a:gd name="connsiteY14" fmla="*/ 8389 h 2238213"/>
                  <a:gd name="connsiteX15" fmla="*/ 9596531 w 9613309"/>
                  <a:gd name="connsiteY15" fmla="*/ 8389 h 2238213"/>
                  <a:gd name="connsiteX16" fmla="*/ 9596531 w 9613309"/>
                  <a:gd name="connsiteY16" fmla="*/ 8389 h 2238213"/>
                  <a:gd name="connsiteX17" fmla="*/ 9613309 w 9613309"/>
                  <a:gd name="connsiteY17" fmla="*/ 0 h 2238213"/>
                  <a:gd name="connsiteX0" fmla="*/ 0 w 9613309"/>
                  <a:gd name="connsiteY0" fmla="*/ 889834 h 2238213"/>
                  <a:gd name="connsiteX1" fmla="*/ 1160503 w 9613309"/>
                  <a:gd name="connsiteY1" fmla="*/ 876806 h 2238213"/>
                  <a:gd name="connsiteX2" fmla="*/ 1768090 w 9613309"/>
                  <a:gd name="connsiteY2" fmla="*/ 819717 h 2238213"/>
                  <a:gd name="connsiteX3" fmla="*/ 1794177 w 9613309"/>
                  <a:gd name="connsiteY3" fmla="*/ 819717 h 2238213"/>
                  <a:gd name="connsiteX4" fmla="*/ 2177915 w 9613309"/>
                  <a:gd name="connsiteY4" fmla="*/ 769763 h 2238213"/>
                  <a:gd name="connsiteX5" fmla="*/ 3887470 w 9613309"/>
                  <a:gd name="connsiteY5" fmla="*/ 455772 h 2238213"/>
                  <a:gd name="connsiteX6" fmla="*/ 4461224 w 9613309"/>
                  <a:gd name="connsiteY6" fmla="*/ 355866 h 2238213"/>
                  <a:gd name="connsiteX7" fmla="*/ 5058417 w 9613309"/>
                  <a:gd name="connsiteY7" fmla="*/ 291641 h 2238213"/>
                  <a:gd name="connsiteX8" fmla="*/ 5541060 w 9613309"/>
                  <a:gd name="connsiteY8" fmla="*/ 314615 h 2238213"/>
                  <a:gd name="connsiteX9" fmla="*/ 5983430 w 9613309"/>
                  <a:gd name="connsiteY9" fmla="*/ 527134 h 2238213"/>
                  <a:gd name="connsiteX10" fmla="*/ 6577281 w 9613309"/>
                  <a:gd name="connsiteY10" fmla="*/ 1484957 h 2238213"/>
                  <a:gd name="connsiteX11" fmla="*/ 7212903 w 9613309"/>
                  <a:gd name="connsiteY11" fmla="*/ 2147041 h 2238213"/>
                  <a:gd name="connsiteX12" fmla="*/ 7665427 w 9613309"/>
                  <a:gd name="connsiteY12" fmla="*/ 2181138 h 2238213"/>
                  <a:gd name="connsiteX13" fmla="*/ 8418959 w 9613309"/>
                  <a:gd name="connsiteY13" fmla="*/ 1647511 h 2238213"/>
                  <a:gd name="connsiteX14" fmla="*/ 9596531 w 9613309"/>
                  <a:gd name="connsiteY14" fmla="*/ 8389 h 2238213"/>
                  <a:gd name="connsiteX15" fmla="*/ 9596531 w 9613309"/>
                  <a:gd name="connsiteY15" fmla="*/ 8389 h 2238213"/>
                  <a:gd name="connsiteX16" fmla="*/ 9596531 w 9613309"/>
                  <a:gd name="connsiteY16" fmla="*/ 8389 h 2238213"/>
                  <a:gd name="connsiteX17" fmla="*/ 9613309 w 9613309"/>
                  <a:gd name="connsiteY17" fmla="*/ 0 h 2238213"/>
                  <a:gd name="connsiteX0" fmla="*/ 0 w 9613309"/>
                  <a:gd name="connsiteY0" fmla="*/ 889834 h 2216290"/>
                  <a:gd name="connsiteX1" fmla="*/ 1160503 w 9613309"/>
                  <a:gd name="connsiteY1" fmla="*/ 876806 h 2216290"/>
                  <a:gd name="connsiteX2" fmla="*/ 1768090 w 9613309"/>
                  <a:gd name="connsiteY2" fmla="*/ 819717 h 2216290"/>
                  <a:gd name="connsiteX3" fmla="*/ 1794177 w 9613309"/>
                  <a:gd name="connsiteY3" fmla="*/ 819717 h 2216290"/>
                  <a:gd name="connsiteX4" fmla="*/ 2177915 w 9613309"/>
                  <a:gd name="connsiteY4" fmla="*/ 769763 h 2216290"/>
                  <a:gd name="connsiteX5" fmla="*/ 3887470 w 9613309"/>
                  <a:gd name="connsiteY5" fmla="*/ 455772 h 2216290"/>
                  <a:gd name="connsiteX6" fmla="*/ 4461224 w 9613309"/>
                  <a:gd name="connsiteY6" fmla="*/ 355866 h 2216290"/>
                  <a:gd name="connsiteX7" fmla="*/ 5058417 w 9613309"/>
                  <a:gd name="connsiteY7" fmla="*/ 291641 h 2216290"/>
                  <a:gd name="connsiteX8" fmla="*/ 5541060 w 9613309"/>
                  <a:gd name="connsiteY8" fmla="*/ 314615 h 2216290"/>
                  <a:gd name="connsiteX9" fmla="*/ 5983430 w 9613309"/>
                  <a:gd name="connsiteY9" fmla="*/ 527134 h 2216290"/>
                  <a:gd name="connsiteX10" fmla="*/ 6577281 w 9613309"/>
                  <a:gd name="connsiteY10" fmla="*/ 1484957 h 2216290"/>
                  <a:gd name="connsiteX11" fmla="*/ 7212903 w 9613309"/>
                  <a:gd name="connsiteY11" fmla="*/ 2147041 h 2216290"/>
                  <a:gd name="connsiteX12" fmla="*/ 7665427 w 9613309"/>
                  <a:gd name="connsiteY12" fmla="*/ 2181138 h 2216290"/>
                  <a:gd name="connsiteX13" fmla="*/ 8244735 w 9613309"/>
                  <a:gd name="connsiteY13" fmla="*/ 1990043 h 2216290"/>
                  <a:gd name="connsiteX14" fmla="*/ 8418959 w 9613309"/>
                  <a:gd name="connsiteY14" fmla="*/ 1647511 h 2216290"/>
                  <a:gd name="connsiteX15" fmla="*/ 9596531 w 9613309"/>
                  <a:gd name="connsiteY15" fmla="*/ 8389 h 2216290"/>
                  <a:gd name="connsiteX16" fmla="*/ 9596531 w 9613309"/>
                  <a:gd name="connsiteY16" fmla="*/ 8389 h 2216290"/>
                  <a:gd name="connsiteX17" fmla="*/ 9596531 w 9613309"/>
                  <a:gd name="connsiteY17" fmla="*/ 8389 h 2216290"/>
                  <a:gd name="connsiteX18" fmla="*/ 9613309 w 9613309"/>
                  <a:gd name="connsiteY18" fmla="*/ 0 h 2216290"/>
                  <a:gd name="connsiteX0" fmla="*/ 0 w 9613309"/>
                  <a:gd name="connsiteY0" fmla="*/ 889834 h 2216290"/>
                  <a:gd name="connsiteX1" fmla="*/ 1160503 w 9613309"/>
                  <a:gd name="connsiteY1" fmla="*/ 876806 h 2216290"/>
                  <a:gd name="connsiteX2" fmla="*/ 1768090 w 9613309"/>
                  <a:gd name="connsiteY2" fmla="*/ 819717 h 2216290"/>
                  <a:gd name="connsiteX3" fmla="*/ 1794177 w 9613309"/>
                  <a:gd name="connsiteY3" fmla="*/ 819717 h 2216290"/>
                  <a:gd name="connsiteX4" fmla="*/ 2177915 w 9613309"/>
                  <a:gd name="connsiteY4" fmla="*/ 769763 h 2216290"/>
                  <a:gd name="connsiteX5" fmla="*/ 3887470 w 9613309"/>
                  <a:gd name="connsiteY5" fmla="*/ 455772 h 2216290"/>
                  <a:gd name="connsiteX6" fmla="*/ 4461224 w 9613309"/>
                  <a:gd name="connsiteY6" fmla="*/ 355866 h 2216290"/>
                  <a:gd name="connsiteX7" fmla="*/ 5058417 w 9613309"/>
                  <a:gd name="connsiteY7" fmla="*/ 291641 h 2216290"/>
                  <a:gd name="connsiteX8" fmla="*/ 5541060 w 9613309"/>
                  <a:gd name="connsiteY8" fmla="*/ 314615 h 2216290"/>
                  <a:gd name="connsiteX9" fmla="*/ 5983430 w 9613309"/>
                  <a:gd name="connsiteY9" fmla="*/ 527134 h 2216290"/>
                  <a:gd name="connsiteX10" fmla="*/ 6577281 w 9613309"/>
                  <a:gd name="connsiteY10" fmla="*/ 1484957 h 2216290"/>
                  <a:gd name="connsiteX11" fmla="*/ 7212903 w 9613309"/>
                  <a:gd name="connsiteY11" fmla="*/ 2147041 h 2216290"/>
                  <a:gd name="connsiteX12" fmla="*/ 7665427 w 9613309"/>
                  <a:gd name="connsiteY12" fmla="*/ 2181138 h 2216290"/>
                  <a:gd name="connsiteX13" fmla="*/ 8244735 w 9613309"/>
                  <a:gd name="connsiteY13" fmla="*/ 1990043 h 2216290"/>
                  <a:gd name="connsiteX14" fmla="*/ 8556966 w 9613309"/>
                  <a:gd name="connsiteY14" fmla="*/ 1668920 h 2216290"/>
                  <a:gd name="connsiteX15" fmla="*/ 9596531 w 9613309"/>
                  <a:gd name="connsiteY15" fmla="*/ 8389 h 2216290"/>
                  <a:gd name="connsiteX16" fmla="*/ 9596531 w 9613309"/>
                  <a:gd name="connsiteY16" fmla="*/ 8389 h 2216290"/>
                  <a:gd name="connsiteX17" fmla="*/ 9596531 w 9613309"/>
                  <a:gd name="connsiteY17" fmla="*/ 8389 h 2216290"/>
                  <a:gd name="connsiteX18" fmla="*/ 9613309 w 9613309"/>
                  <a:gd name="connsiteY18" fmla="*/ 0 h 2216290"/>
                  <a:gd name="connsiteX0" fmla="*/ 0 w 9613309"/>
                  <a:gd name="connsiteY0" fmla="*/ 889834 h 2370004"/>
                  <a:gd name="connsiteX1" fmla="*/ 1160503 w 9613309"/>
                  <a:gd name="connsiteY1" fmla="*/ 876806 h 2370004"/>
                  <a:gd name="connsiteX2" fmla="*/ 1768090 w 9613309"/>
                  <a:gd name="connsiteY2" fmla="*/ 819717 h 2370004"/>
                  <a:gd name="connsiteX3" fmla="*/ 1794177 w 9613309"/>
                  <a:gd name="connsiteY3" fmla="*/ 819717 h 2370004"/>
                  <a:gd name="connsiteX4" fmla="*/ 2177915 w 9613309"/>
                  <a:gd name="connsiteY4" fmla="*/ 769763 h 2370004"/>
                  <a:gd name="connsiteX5" fmla="*/ 3887470 w 9613309"/>
                  <a:gd name="connsiteY5" fmla="*/ 455772 h 2370004"/>
                  <a:gd name="connsiteX6" fmla="*/ 4461224 w 9613309"/>
                  <a:gd name="connsiteY6" fmla="*/ 355866 h 2370004"/>
                  <a:gd name="connsiteX7" fmla="*/ 5058417 w 9613309"/>
                  <a:gd name="connsiteY7" fmla="*/ 291641 h 2370004"/>
                  <a:gd name="connsiteX8" fmla="*/ 5541060 w 9613309"/>
                  <a:gd name="connsiteY8" fmla="*/ 314615 h 2370004"/>
                  <a:gd name="connsiteX9" fmla="*/ 5983430 w 9613309"/>
                  <a:gd name="connsiteY9" fmla="*/ 527134 h 2370004"/>
                  <a:gd name="connsiteX10" fmla="*/ 6577281 w 9613309"/>
                  <a:gd name="connsiteY10" fmla="*/ 1484957 h 2370004"/>
                  <a:gd name="connsiteX11" fmla="*/ 7212903 w 9613309"/>
                  <a:gd name="connsiteY11" fmla="*/ 2147041 h 2370004"/>
                  <a:gd name="connsiteX12" fmla="*/ 7757432 w 9613309"/>
                  <a:gd name="connsiteY12" fmla="*/ 2366678 h 2370004"/>
                  <a:gd name="connsiteX13" fmla="*/ 8244735 w 9613309"/>
                  <a:gd name="connsiteY13" fmla="*/ 1990043 h 2370004"/>
                  <a:gd name="connsiteX14" fmla="*/ 8556966 w 9613309"/>
                  <a:gd name="connsiteY14" fmla="*/ 1668920 h 2370004"/>
                  <a:gd name="connsiteX15" fmla="*/ 9596531 w 9613309"/>
                  <a:gd name="connsiteY15" fmla="*/ 8389 h 2370004"/>
                  <a:gd name="connsiteX16" fmla="*/ 9596531 w 9613309"/>
                  <a:gd name="connsiteY16" fmla="*/ 8389 h 2370004"/>
                  <a:gd name="connsiteX17" fmla="*/ 9596531 w 9613309"/>
                  <a:gd name="connsiteY17" fmla="*/ 8389 h 2370004"/>
                  <a:gd name="connsiteX18" fmla="*/ 9613309 w 9613309"/>
                  <a:gd name="connsiteY18" fmla="*/ 0 h 2370004"/>
                  <a:gd name="connsiteX0" fmla="*/ 0 w 9613309"/>
                  <a:gd name="connsiteY0" fmla="*/ 889834 h 2366706"/>
                  <a:gd name="connsiteX1" fmla="*/ 1160503 w 9613309"/>
                  <a:gd name="connsiteY1" fmla="*/ 876806 h 2366706"/>
                  <a:gd name="connsiteX2" fmla="*/ 1768090 w 9613309"/>
                  <a:gd name="connsiteY2" fmla="*/ 819717 h 2366706"/>
                  <a:gd name="connsiteX3" fmla="*/ 1794177 w 9613309"/>
                  <a:gd name="connsiteY3" fmla="*/ 819717 h 2366706"/>
                  <a:gd name="connsiteX4" fmla="*/ 2177915 w 9613309"/>
                  <a:gd name="connsiteY4" fmla="*/ 769763 h 2366706"/>
                  <a:gd name="connsiteX5" fmla="*/ 3887470 w 9613309"/>
                  <a:gd name="connsiteY5" fmla="*/ 455772 h 2366706"/>
                  <a:gd name="connsiteX6" fmla="*/ 4461224 w 9613309"/>
                  <a:gd name="connsiteY6" fmla="*/ 355866 h 2366706"/>
                  <a:gd name="connsiteX7" fmla="*/ 5058417 w 9613309"/>
                  <a:gd name="connsiteY7" fmla="*/ 291641 h 2366706"/>
                  <a:gd name="connsiteX8" fmla="*/ 5541060 w 9613309"/>
                  <a:gd name="connsiteY8" fmla="*/ 314615 h 2366706"/>
                  <a:gd name="connsiteX9" fmla="*/ 5983430 w 9613309"/>
                  <a:gd name="connsiteY9" fmla="*/ 527134 h 2366706"/>
                  <a:gd name="connsiteX10" fmla="*/ 6577281 w 9613309"/>
                  <a:gd name="connsiteY10" fmla="*/ 1484957 h 2366706"/>
                  <a:gd name="connsiteX11" fmla="*/ 7212903 w 9613309"/>
                  <a:gd name="connsiteY11" fmla="*/ 2147041 h 2366706"/>
                  <a:gd name="connsiteX12" fmla="*/ 7757432 w 9613309"/>
                  <a:gd name="connsiteY12" fmla="*/ 2366678 h 2366706"/>
                  <a:gd name="connsiteX13" fmla="*/ 8049227 w 9613309"/>
                  <a:gd name="connsiteY13" fmla="*/ 2161312 h 2366706"/>
                  <a:gd name="connsiteX14" fmla="*/ 8244735 w 9613309"/>
                  <a:gd name="connsiteY14" fmla="*/ 1990043 h 2366706"/>
                  <a:gd name="connsiteX15" fmla="*/ 8556966 w 9613309"/>
                  <a:gd name="connsiteY15" fmla="*/ 1668920 h 2366706"/>
                  <a:gd name="connsiteX16" fmla="*/ 9596531 w 9613309"/>
                  <a:gd name="connsiteY16" fmla="*/ 8389 h 2366706"/>
                  <a:gd name="connsiteX17" fmla="*/ 9596531 w 9613309"/>
                  <a:gd name="connsiteY17" fmla="*/ 8389 h 2366706"/>
                  <a:gd name="connsiteX18" fmla="*/ 9596531 w 9613309"/>
                  <a:gd name="connsiteY18" fmla="*/ 8389 h 2366706"/>
                  <a:gd name="connsiteX19" fmla="*/ 9613309 w 9613309"/>
                  <a:gd name="connsiteY19" fmla="*/ 0 h 2366706"/>
                  <a:gd name="connsiteX0" fmla="*/ 0 w 9613309"/>
                  <a:gd name="connsiteY0" fmla="*/ 889834 h 2367063"/>
                  <a:gd name="connsiteX1" fmla="*/ 1160503 w 9613309"/>
                  <a:gd name="connsiteY1" fmla="*/ 876806 h 2367063"/>
                  <a:gd name="connsiteX2" fmla="*/ 1768090 w 9613309"/>
                  <a:gd name="connsiteY2" fmla="*/ 819717 h 2367063"/>
                  <a:gd name="connsiteX3" fmla="*/ 1794177 w 9613309"/>
                  <a:gd name="connsiteY3" fmla="*/ 819717 h 2367063"/>
                  <a:gd name="connsiteX4" fmla="*/ 2177915 w 9613309"/>
                  <a:gd name="connsiteY4" fmla="*/ 769763 h 2367063"/>
                  <a:gd name="connsiteX5" fmla="*/ 3887470 w 9613309"/>
                  <a:gd name="connsiteY5" fmla="*/ 455772 h 2367063"/>
                  <a:gd name="connsiteX6" fmla="*/ 4461224 w 9613309"/>
                  <a:gd name="connsiteY6" fmla="*/ 355866 h 2367063"/>
                  <a:gd name="connsiteX7" fmla="*/ 5058417 w 9613309"/>
                  <a:gd name="connsiteY7" fmla="*/ 291641 h 2367063"/>
                  <a:gd name="connsiteX8" fmla="*/ 5541060 w 9613309"/>
                  <a:gd name="connsiteY8" fmla="*/ 314615 h 2367063"/>
                  <a:gd name="connsiteX9" fmla="*/ 5983430 w 9613309"/>
                  <a:gd name="connsiteY9" fmla="*/ 527134 h 2367063"/>
                  <a:gd name="connsiteX10" fmla="*/ 6577281 w 9613309"/>
                  <a:gd name="connsiteY10" fmla="*/ 1484957 h 2367063"/>
                  <a:gd name="connsiteX11" fmla="*/ 7086397 w 9613309"/>
                  <a:gd name="connsiteY11" fmla="*/ 2196994 h 2367063"/>
                  <a:gd name="connsiteX12" fmla="*/ 7757432 w 9613309"/>
                  <a:gd name="connsiteY12" fmla="*/ 2366678 h 2367063"/>
                  <a:gd name="connsiteX13" fmla="*/ 8049227 w 9613309"/>
                  <a:gd name="connsiteY13" fmla="*/ 2161312 h 2367063"/>
                  <a:gd name="connsiteX14" fmla="*/ 8244735 w 9613309"/>
                  <a:gd name="connsiteY14" fmla="*/ 1990043 h 2367063"/>
                  <a:gd name="connsiteX15" fmla="*/ 8556966 w 9613309"/>
                  <a:gd name="connsiteY15" fmla="*/ 1668920 h 2367063"/>
                  <a:gd name="connsiteX16" fmla="*/ 9596531 w 9613309"/>
                  <a:gd name="connsiteY16" fmla="*/ 8389 h 2367063"/>
                  <a:gd name="connsiteX17" fmla="*/ 9596531 w 9613309"/>
                  <a:gd name="connsiteY17" fmla="*/ 8389 h 2367063"/>
                  <a:gd name="connsiteX18" fmla="*/ 9596531 w 9613309"/>
                  <a:gd name="connsiteY18" fmla="*/ 8389 h 2367063"/>
                  <a:gd name="connsiteX19" fmla="*/ 9613309 w 9613309"/>
                  <a:gd name="connsiteY19" fmla="*/ 0 h 2367063"/>
                  <a:gd name="connsiteX0" fmla="*/ 0 w 9613309"/>
                  <a:gd name="connsiteY0" fmla="*/ 889834 h 2367063"/>
                  <a:gd name="connsiteX1" fmla="*/ 1160503 w 9613309"/>
                  <a:gd name="connsiteY1" fmla="*/ 876806 h 2367063"/>
                  <a:gd name="connsiteX2" fmla="*/ 1768090 w 9613309"/>
                  <a:gd name="connsiteY2" fmla="*/ 819717 h 2367063"/>
                  <a:gd name="connsiteX3" fmla="*/ 1794177 w 9613309"/>
                  <a:gd name="connsiteY3" fmla="*/ 819717 h 2367063"/>
                  <a:gd name="connsiteX4" fmla="*/ 2177915 w 9613309"/>
                  <a:gd name="connsiteY4" fmla="*/ 769763 h 2367063"/>
                  <a:gd name="connsiteX5" fmla="*/ 3887470 w 9613309"/>
                  <a:gd name="connsiteY5" fmla="*/ 455772 h 2367063"/>
                  <a:gd name="connsiteX6" fmla="*/ 4461224 w 9613309"/>
                  <a:gd name="connsiteY6" fmla="*/ 355866 h 2367063"/>
                  <a:gd name="connsiteX7" fmla="*/ 5058417 w 9613309"/>
                  <a:gd name="connsiteY7" fmla="*/ 291641 h 2367063"/>
                  <a:gd name="connsiteX8" fmla="*/ 5541060 w 9613309"/>
                  <a:gd name="connsiteY8" fmla="*/ 314615 h 2367063"/>
                  <a:gd name="connsiteX9" fmla="*/ 5983430 w 9613309"/>
                  <a:gd name="connsiteY9" fmla="*/ 527134 h 2367063"/>
                  <a:gd name="connsiteX10" fmla="*/ 6232137 w 9613309"/>
                  <a:gd name="connsiteY10" fmla="*/ 784035 h 2367063"/>
                  <a:gd name="connsiteX11" fmla="*/ 6577281 w 9613309"/>
                  <a:gd name="connsiteY11" fmla="*/ 1484957 h 2367063"/>
                  <a:gd name="connsiteX12" fmla="*/ 7086397 w 9613309"/>
                  <a:gd name="connsiteY12" fmla="*/ 2196994 h 2367063"/>
                  <a:gd name="connsiteX13" fmla="*/ 7757432 w 9613309"/>
                  <a:gd name="connsiteY13" fmla="*/ 2366678 h 2367063"/>
                  <a:gd name="connsiteX14" fmla="*/ 8049227 w 9613309"/>
                  <a:gd name="connsiteY14" fmla="*/ 2161312 h 2367063"/>
                  <a:gd name="connsiteX15" fmla="*/ 8244735 w 9613309"/>
                  <a:gd name="connsiteY15" fmla="*/ 1990043 h 2367063"/>
                  <a:gd name="connsiteX16" fmla="*/ 8556966 w 9613309"/>
                  <a:gd name="connsiteY16" fmla="*/ 1668920 h 2367063"/>
                  <a:gd name="connsiteX17" fmla="*/ 9596531 w 9613309"/>
                  <a:gd name="connsiteY17" fmla="*/ 8389 h 2367063"/>
                  <a:gd name="connsiteX18" fmla="*/ 9596531 w 9613309"/>
                  <a:gd name="connsiteY18" fmla="*/ 8389 h 2367063"/>
                  <a:gd name="connsiteX19" fmla="*/ 9596531 w 9613309"/>
                  <a:gd name="connsiteY19" fmla="*/ 8389 h 2367063"/>
                  <a:gd name="connsiteX20" fmla="*/ 9613309 w 9613309"/>
                  <a:gd name="connsiteY20" fmla="*/ 0 h 2367063"/>
                  <a:gd name="connsiteX0" fmla="*/ 0 w 9613309"/>
                  <a:gd name="connsiteY0" fmla="*/ 889834 h 2384246"/>
                  <a:gd name="connsiteX1" fmla="*/ 1160503 w 9613309"/>
                  <a:gd name="connsiteY1" fmla="*/ 876806 h 2384246"/>
                  <a:gd name="connsiteX2" fmla="*/ 1768090 w 9613309"/>
                  <a:gd name="connsiteY2" fmla="*/ 819717 h 2384246"/>
                  <a:gd name="connsiteX3" fmla="*/ 1794177 w 9613309"/>
                  <a:gd name="connsiteY3" fmla="*/ 819717 h 2384246"/>
                  <a:gd name="connsiteX4" fmla="*/ 2177915 w 9613309"/>
                  <a:gd name="connsiteY4" fmla="*/ 769763 h 2384246"/>
                  <a:gd name="connsiteX5" fmla="*/ 3887470 w 9613309"/>
                  <a:gd name="connsiteY5" fmla="*/ 455772 h 2384246"/>
                  <a:gd name="connsiteX6" fmla="*/ 4461224 w 9613309"/>
                  <a:gd name="connsiteY6" fmla="*/ 355866 h 2384246"/>
                  <a:gd name="connsiteX7" fmla="*/ 5058417 w 9613309"/>
                  <a:gd name="connsiteY7" fmla="*/ 291641 h 2384246"/>
                  <a:gd name="connsiteX8" fmla="*/ 5541060 w 9613309"/>
                  <a:gd name="connsiteY8" fmla="*/ 314615 h 2384246"/>
                  <a:gd name="connsiteX9" fmla="*/ 5983430 w 9613309"/>
                  <a:gd name="connsiteY9" fmla="*/ 527134 h 2384246"/>
                  <a:gd name="connsiteX10" fmla="*/ 6232137 w 9613309"/>
                  <a:gd name="connsiteY10" fmla="*/ 784035 h 2384246"/>
                  <a:gd name="connsiteX11" fmla="*/ 6577281 w 9613309"/>
                  <a:gd name="connsiteY11" fmla="*/ 1484957 h 2384246"/>
                  <a:gd name="connsiteX12" fmla="*/ 7086397 w 9613309"/>
                  <a:gd name="connsiteY12" fmla="*/ 2196994 h 2384246"/>
                  <a:gd name="connsiteX13" fmla="*/ 7405194 w 9613309"/>
                  <a:gd name="connsiteY13" fmla="*/ 2353988 h 2384246"/>
                  <a:gd name="connsiteX14" fmla="*/ 7757432 w 9613309"/>
                  <a:gd name="connsiteY14" fmla="*/ 2366678 h 2384246"/>
                  <a:gd name="connsiteX15" fmla="*/ 8049227 w 9613309"/>
                  <a:gd name="connsiteY15" fmla="*/ 2161312 h 2384246"/>
                  <a:gd name="connsiteX16" fmla="*/ 8244735 w 9613309"/>
                  <a:gd name="connsiteY16" fmla="*/ 1990043 h 2384246"/>
                  <a:gd name="connsiteX17" fmla="*/ 8556966 w 9613309"/>
                  <a:gd name="connsiteY17" fmla="*/ 1668920 h 2384246"/>
                  <a:gd name="connsiteX18" fmla="*/ 9596531 w 9613309"/>
                  <a:gd name="connsiteY18" fmla="*/ 8389 h 2384246"/>
                  <a:gd name="connsiteX19" fmla="*/ 9596531 w 9613309"/>
                  <a:gd name="connsiteY19" fmla="*/ 8389 h 2384246"/>
                  <a:gd name="connsiteX20" fmla="*/ 9596531 w 9613309"/>
                  <a:gd name="connsiteY20" fmla="*/ 8389 h 2384246"/>
                  <a:gd name="connsiteX21" fmla="*/ 9613309 w 9613309"/>
                  <a:gd name="connsiteY21" fmla="*/ 0 h 2384246"/>
                  <a:gd name="connsiteX0" fmla="*/ 0 w 9613309"/>
                  <a:gd name="connsiteY0" fmla="*/ 889834 h 2384246"/>
                  <a:gd name="connsiteX1" fmla="*/ 1160503 w 9613309"/>
                  <a:gd name="connsiteY1" fmla="*/ 876806 h 2384246"/>
                  <a:gd name="connsiteX2" fmla="*/ 1768090 w 9613309"/>
                  <a:gd name="connsiteY2" fmla="*/ 819717 h 2384246"/>
                  <a:gd name="connsiteX3" fmla="*/ 1794177 w 9613309"/>
                  <a:gd name="connsiteY3" fmla="*/ 819717 h 2384246"/>
                  <a:gd name="connsiteX4" fmla="*/ 2177915 w 9613309"/>
                  <a:gd name="connsiteY4" fmla="*/ 769763 h 2384246"/>
                  <a:gd name="connsiteX5" fmla="*/ 2724466 w 9613309"/>
                  <a:gd name="connsiteY5" fmla="*/ 719810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596531 w 9613309"/>
                  <a:gd name="connsiteY19" fmla="*/ 8389 h 2384246"/>
                  <a:gd name="connsiteX20" fmla="*/ 9596531 w 9613309"/>
                  <a:gd name="connsiteY20" fmla="*/ 8389 h 2384246"/>
                  <a:gd name="connsiteX21" fmla="*/ 9596531 w 9613309"/>
                  <a:gd name="connsiteY21" fmla="*/ 8389 h 2384246"/>
                  <a:gd name="connsiteX22" fmla="*/ 9613309 w 9613309"/>
                  <a:gd name="connsiteY22" fmla="*/ 0 h 2384246"/>
                  <a:gd name="connsiteX0" fmla="*/ 0 w 9613309"/>
                  <a:gd name="connsiteY0" fmla="*/ 889834 h 2384246"/>
                  <a:gd name="connsiteX1" fmla="*/ 1160503 w 9613309"/>
                  <a:gd name="connsiteY1" fmla="*/ 876806 h 2384246"/>
                  <a:gd name="connsiteX2" fmla="*/ 1768090 w 9613309"/>
                  <a:gd name="connsiteY2" fmla="*/ 819717 h 2384246"/>
                  <a:gd name="connsiteX3" fmla="*/ 1794177 w 9613309"/>
                  <a:gd name="connsiteY3" fmla="*/ 819717 h 2384246"/>
                  <a:gd name="connsiteX4" fmla="*/ 2177915 w 9613309"/>
                  <a:gd name="connsiteY4" fmla="*/ 833988 h 2384246"/>
                  <a:gd name="connsiteX5" fmla="*/ 2724466 w 9613309"/>
                  <a:gd name="connsiteY5" fmla="*/ 719810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596531 w 9613309"/>
                  <a:gd name="connsiteY19" fmla="*/ 8389 h 2384246"/>
                  <a:gd name="connsiteX20" fmla="*/ 9596531 w 9613309"/>
                  <a:gd name="connsiteY20" fmla="*/ 8389 h 2384246"/>
                  <a:gd name="connsiteX21" fmla="*/ 9596531 w 9613309"/>
                  <a:gd name="connsiteY21" fmla="*/ 8389 h 2384246"/>
                  <a:gd name="connsiteX22" fmla="*/ 9613309 w 9613309"/>
                  <a:gd name="connsiteY22" fmla="*/ 0 h 2384246"/>
                  <a:gd name="connsiteX0" fmla="*/ 0 w 9613309"/>
                  <a:gd name="connsiteY0" fmla="*/ 889834 h 2384246"/>
                  <a:gd name="connsiteX1" fmla="*/ 1160503 w 9613309"/>
                  <a:gd name="connsiteY1" fmla="*/ 876806 h 2384246"/>
                  <a:gd name="connsiteX2" fmla="*/ 1768090 w 9613309"/>
                  <a:gd name="connsiteY2" fmla="*/ 819717 h 2384246"/>
                  <a:gd name="connsiteX3" fmla="*/ 1782677 w 9613309"/>
                  <a:gd name="connsiteY3" fmla="*/ 869671 h 2384246"/>
                  <a:gd name="connsiteX4" fmla="*/ 2177915 w 9613309"/>
                  <a:gd name="connsiteY4" fmla="*/ 833988 h 2384246"/>
                  <a:gd name="connsiteX5" fmla="*/ 2724466 w 9613309"/>
                  <a:gd name="connsiteY5" fmla="*/ 719810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596531 w 9613309"/>
                  <a:gd name="connsiteY19" fmla="*/ 8389 h 2384246"/>
                  <a:gd name="connsiteX20" fmla="*/ 9596531 w 9613309"/>
                  <a:gd name="connsiteY20" fmla="*/ 8389 h 2384246"/>
                  <a:gd name="connsiteX21" fmla="*/ 9596531 w 9613309"/>
                  <a:gd name="connsiteY21" fmla="*/ 8389 h 2384246"/>
                  <a:gd name="connsiteX22" fmla="*/ 9613309 w 9613309"/>
                  <a:gd name="connsiteY22" fmla="*/ 0 h 2384246"/>
                  <a:gd name="connsiteX0" fmla="*/ 0 w 9613309"/>
                  <a:gd name="connsiteY0" fmla="*/ 889834 h 2384246"/>
                  <a:gd name="connsiteX1" fmla="*/ 1160503 w 9613309"/>
                  <a:gd name="connsiteY1" fmla="*/ 941031 h 2384246"/>
                  <a:gd name="connsiteX2" fmla="*/ 1768090 w 9613309"/>
                  <a:gd name="connsiteY2" fmla="*/ 819717 h 2384246"/>
                  <a:gd name="connsiteX3" fmla="*/ 1782677 w 9613309"/>
                  <a:gd name="connsiteY3" fmla="*/ 869671 h 2384246"/>
                  <a:gd name="connsiteX4" fmla="*/ 2177915 w 9613309"/>
                  <a:gd name="connsiteY4" fmla="*/ 833988 h 2384246"/>
                  <a:gd name="connsiteX5" fmla="*/ 2724466 w 9613309"/>
                  <a:gd name="connsiteY5" fmla="*/ 719810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596531 w 9613309"/>
                  <a:gd name="connsiteY19" fmla="*/ 8389 h 2384246"/>
                  <a:gd name="connsiteX20" fmla="*/ 9596531 w 9613309"/>
                  <a:gd name="connsiteY20" fmla="*/ 8389 h 2384246"/>
                  <a:gd name="connsiteX21" fmla="*/ 9596531 w 9613309"/>
                  <a:gd name="connsiteY21" fmla="*/ 8389 h 2384246"/>
                  <a:gd name="connsiteX22" fmla="*/ 9613309 w 9613309"/>
                  <a:gd name="connsiteY22" fmla="*/ 0 h 2384246"/>
                  <a:gd name="connsiteX0" fmla="*/ 0 w 9613309"/>
                  <a:gd name="connsiteY0" fmla="*/ 889834 h 2384246"/>
                  <a:gd name="connsiteX1" fmla="*/ 1160503 w 9613309"/>
                  <a:gd name="connsiteY1" fmla="*/ 941031 h 2384246"/>
                  <a:gd name="connsiteX2" fmla="*/ 1768090 w 9613309"/>
                  <a:gd name="connsiteY2" fmla="*/ 819717 h 2384246"/>
                  <a:gd name="connsiteX3" fmla="*/ 1782677 w 9613309"/>
                  <a:gd name="connsiteY3" fmla="*/ 905352 h 2384246"/>
                  <a:gd name="connsiteX4" fmla="*/ 2177915 w 9613309"/>
                  <a:gd name="connsiteY4" fmla="*/ 833988 h 2384246"/>
                  <a:gd name="connsiteX5" fmla="*/ 2724466 w 9613309"/>
                  <a:gd name="connsiteY5" fmla="*/ 719810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596531 w 9613309"/>
                  <a:gd name="connsiteY19" fmla="*/ 8389 h 2384246"/>
                  <a:gd name="connsiteX20" fmla="*/ 9596531 w 9613309"/>
                  <a:gd name="connsiteY20" fmla="*/ 8389 h 2384246"/>
                  <a:gd name="connsiteX21" fmla="*/ 9596531 w 9613309"/>
                  <a:gd name="connsiteY21" fmla="*/ 8389 h 2384246"/>
                  <a:gd name="connsiteX22" fmla="*/ 9613309 w 9613309"/>
                  <a:gd name="connsiteY22" fmla="*/ 0 h 2384246"/>
                  <a:gd name="connsiteX0" fmla="*/ 0 w 9613309"/>
                  <a:gd name="connsiteY0" fmla="*/ 889834 h 2384246"/>
                  <a:gd name="connsiteX1" fmla="*/ 1160503 w 9613309"/>
                  <a:gd name="connsiteY1" fmla="*/ 941031 h 2384246"/>
                  <a:gd name="connsiteX2" fmla="*/ 1722088 w 9613309"/>
                  <a:gd name="connsiteY2" fmla="*/ 876807 h 2384246"/>
                  <a:gd name="connsiteX3" fmla="*/ 1782677 w 9613309"/>
                  <a:gd name="connsiteY3" fmla="*/ 905352 h 2384246"/>
                  <a:gd name="connsiteX4" fmla="*/ 2177915 w 9613309"/>
                  <a:gd name="connsiteY4" fmla="*/ 833988 h 2384246"/>
                  <a:gd name="connsiteX5" fmla="*/ 2724466 w 9613309"/>
                  <a:gd name="connsiteY5" fmla="*/ 719810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596531 w 9613309"/>
                  <a:gd name="connsiteY19" fmla="*/ 8389 h 2384246"/>
                  <a:gd name="connsiteX20" fmla="*/ 9596531 w 9613309"/>
                  <a:gd name="connsiteY20" fmla="*/ 8389 h 2384246"/>
                  <a:gd name="connsiteX21" fmla="*/ 9596531 w 9613309"/>
                  <a:gd name="connsiteY21" fmla="*/ 8389 h 2384246"/>
                  <a:gd name="connsiteX22" fmla="*/ 9613309 w 9613309"/>
                  <a:gd name="connsiteY22" fmla="*/ 0 h 2384246"/>
                  <a:gd name="connsiteX0" fmla="*/ 0 w 9613309"/>
                  <a:gd name="connsiteY0" fmla="*/ 889834 h 2384246"/>
                  <a:gd name="connsiteX1" fmla="*/ 1160503 w 9613309"/>
                  <a:gd name="connsiteY1" fmla="*/ 941031 h 2384246"/>
                  <a:gd name="connsiteX2" fmla="*/ 1549580 w 9613309"/>
                  <a:gd name="connsiteY2" fmla="*/ 919624 h 2384246"/>
                  <a:gd name="connsiteX3" fmla="*/ 1782677 w 9613309"/>
                  <a:gd name="connsiteY3" fmla="*/ 905352 h 2384246"/>
                  <a:gd name="connsiteX4" fmla="*/ 2177915 w 9613309"/>
                  <a:gd name="connsiteY4" fmla="*/ 833988 h 2384246"/>
                  <a:gd name="connsiteX5" fmla="*/ 2724466 w 9613309"/>
                  <a:gd name="connsiteY5" fmla="*/ 719810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596531 w 9613309"/>
                  <a:gd name="connsiteY19" fmla="*/ 8389 h 2384246"/>
                  <a:gd name="connsiteX20" fmla="*/ 9596531 w 9613309"/>
                  <a:gd name="connsiteY20" fmla="*/ 8389 h 2384246"/>
                  <a:gd name="connsiteX21" fmla="*/ 9596531 w 9613309"/>
                  <a:gd name="connsiteY21" fmla="*/ 8389 h 2384246"/>
                  <a:gd name="connsiteX22" fmla="*/ 9613309 w 9613309"/>
                  <a:gd name="connsiteY22" fmla="*/ 0 h 2384246"/>
                  <a:gd name="connsiteX0" fmla="*/ 0 w 9613309"/>
                  <a:gd name="connsiteY0" fmla="*/ 889834 h 2384246"/>
                  <a:gd name="connsiteX1" fmla="*/ 1160503 w 9613309"/>
                  <a:gd name="connsiteY1" fmla="*/ 941031 h 2384246"/>
                  <a:gd name="connsiteX2" fmla="*/ 1549580 w 9613309"/>
                  <a:gd name="connsiteY2" fmla="*/ 919624 h 2384246"/>
                  <a:gd name="connsiteX3" fmla="*/ 1782677 w 9613309"/>
                  <a:gd name="connsiteY3" fmla="*/ 905352 h 2384246"/>
                  <a:gd name="connsiteX4" fmla="*/ 2177915 w 9613309"/>
                  <a:gd name="connsiteY4" fmla="*/ 833988 h 2384246"/>
                  <a:gd name="connsiteX5" fmla="*/ 2724466 w 9613309"/>
                  <a:gd name="connsiteY5" fmla="*/ 719810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302788 w 9613309"/>
                  <a:gd name="connsiteY19" fmla="*/ 213143 h 2384246"/>
                  <a:gd name="connsiteX20" fmla="*/ 9596531 w 9613309"/>
                  <a:gd name="connsiteY20" fmla="*/ 8389 h 2384246"/>
                  <a:gd name="connsiteX21" fmla="*/ 9596531 w 9613309"/>
                  <a:gd name="connsiteY21" fmla="*/ 8389 h 2384246"/>
                  <a:gd name="connsiteX22" fmla="*/ 9596531 w 9613309"/>
                  <a:gd name="connsiteY22" fmla="*/ 8389 h 2384246"/>
                  <a:gd name="connsiteX23" fmla="*/ 9613309 w 9613309"/>
                  <a:gd name="connsiteY23" fmla="*/ 0 h 2384246"/>
                  <a:gd name="connsiteX0" fmla="*/ 0 w 9613309"/>
                  <a:gd name="connsiteY0" fmla="*/ 889834 h 2384246"/>
                  <a:gd name="connsiteX1" fmla="*/ 1160503 w 9613309"/>
                  <a:gd name="connsiteY1" fmla="*/ 941031 h 2384246"/>
                  <a:gd name="connsiteX2" fmla="*/ 1549580 w 9613309"/>
                  <a:gd name="connsiteY2" fmla="*/ 919624 h 2384246"/>
                  <a:gd name="connsiteX3" fmla="*/ 1782677 w 9613309"/>
                  <a:gd name="connsiteY3" fmla="*/ 905352 h 2384246"/>
                  <a:gd name="connsiteX4" fmla="*/ 2105311 w 9613309"/>
                  <a:gd name="connsiteY4" fmla="*/ 762626 h 2384246"/>
                  <a:gd name="connsiteX5" fmla="*/ 2724466 w 9613309"/>
                  <a:gd name="connsiteY5" fmla="*/ 719810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302788 w 9613309"/>
                  <a:gd name="connsiteY19" fmla="*/ 213143 h 2384246"/>
                  <a:gd name="connsiteX20" fmla="*/ 9596531 w 9613309"/>
                  <a:gd name="connsiteY20" fmla="*/ 8389 h 2384246"/>
                  <a:gd name="connsiteX21" fmla="*/ 9596531 w 9613309"/>
                  <a:gd name="connsiteY21" fmla="*/ 8389 h 2384246"/>
                  <a:gd name="connsiteX22" fmla="*/ 9596531 w 9613309"/>
                  <a:gd name="connsiteY22" fmla="*/ 8389 h 2384246"/>
                  <a:gd name="connsiteX23" fmla="*/ 9613309 w 9613309"/>
                  <a:gd name="connsiteY23" fmla="*/ 0 h 2384246"/>
                  <a:gd name="connsiteX0" fmla="*/ 0 w 9613309"/>
                  <a:gd name="connsiteY0" fmla="*/ 889834 h 2384246"/>
                  <a:gd name="connsiteX1" fmla="*/ 1160503 w 9613309"/>
                  <a:gd name="connsiteY1" fmla="*/ 941031 h 2384246"/>
                  <a:gd name="connsiteX2" fmla="*/ 1549580 w 9613309"/>
                  <a:gd name="connsiteY2" fmla="*/ 919624 h 2384246"/>
                  <a:gd name="connsiteX3" fmla="*/ 1782677 w 9613309"/>
                  <a:gd name="connsiteY3" fmla="*/ 905352 h 2384246"/>
                  <a:gd name="connsiteX4" fmla="*/ 2105311 w 9613309"/>
                  <a:gd name="connsiteY4" fmla="*/ 762626 h 2384246"/>
                  <a:gd name="connsiteX5" fmla="*/ 2724467 w 9613309"/>
                  <a:gd name="connsiteY5" fmla="*/ 691266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302788 w 9613309"/>
                  <a:gd name="connsiteY19" fmla="*/ 213143 h 2384246"/>
                  <a:gd name="connsiteX20" fmla="*/ 9596531 w 9613309"/>
                  <a:gd name="connsiteY20" fmla="*/ 8389 h 2384246"/>
                  <a:gd name="connsiteX21" fmla="*/ 9596531 w 9613309"/>
                  <a:gd name="connsiteY21" fmla="*/ 8389 h 2384246"/>
                  <a:gd name="connsiteX22" fmla="*/ 9596531 w 9613309"/>
                  <a:gd name="connsiteY22" fmla="*/ 8389 h 2384246"/>
                  <a:gd name="connsiteX23" fmla="*/ 9613309 w 9613309"/>
                  <a:gd name="connsiteY23" fmla="*/ 0 h 2384246"/>
                  <a:gd name="connsiteX0" fmla="*/ 0 w 9613309"/>
                  <a:gd name="connsiteY0" fmla="*/ 889834 h 2384246"/>
                  <a:gd name="connsiteX1" fmla="*/ 1160503 w 9613309"/>
                  <a:gd name="connsiteY1" fmla="*/ 941031 h 2384246"/>
                  <a:gd name="connsiteX2" fmla="*/ 1307567 w 9613309"/>
                  <a:gd name="connsiteY2" fmla="*/ 855398 h 2384246"/>
                  <a:gd name="connsiteX3" fmla="*/ 1782677 w 9613309"/>
                  <a:gd name="connsiteY3" fmla="*/ 905352 h 2384246"/>
                  <a:gd name="connsiteX4" fmla="*/ 2105311 w 9613309"/>
                  <a:gd name="connsiteY4" fmla="*/ 762626 h 2384246"/>
                  <a:gd name="connsiteX5" fmla="*/ 2724467 w 9613309"/>
                  <a:gd name="connsiteY5" fmla="*/ 691266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302788 w 9613309"/>
                  <a:gd name="connsiteY19" fmla="*/ 213143 h 2384246"/>
                  <a:gd name="connsiteX20" fmla="*/ 9596531 w 9613309"/>
                  <a:gd name="connsiteY20" fmla="*/ 8389 h 2384246"/>
                  <a:gd name="connsiteX21" fmla="*/ 9596531 w 9613309"/>
                  <a:gd name="connsiteY21" fmla="*/ 8389 h 2384246"/>
                  <a:gd name="connsiteX22" fmla="*/ 9596531 w 9613309"/>
                  <a:gd name="connsiteY22" fmla="*/ 8389 h 2384246"/>
                  <a:gd name="connsiteX23" fmla="*/ 9613309 w 9613309"/>
                  <a:gd name="connsiteY23" fmla="*/ 0 h 2384246"/>
                  <a:gd name="connsiteX0" fmla="*/ 0 w 9613309"/>
                  <a:gd name="connsiteY0" fmla="*/ 889834 h 2384246"/>
                  <a:gd name="connsiteX1" fmla="*/ 1160503 w 9613309"/>
                  <a:gd name="connsiteY1" fmla="*/ 941031 h 2384246"/>
                  <a:gd name="connsiteX2" fmla="*/ 1307567 w 9613309"/>
                  <a:gd name="connsiteY2" fmla="*/ 855398 h 2384246"/>
                  <a:gd name="connsiteX3" fmla="*/ 1722173 w 9613309"/>
                  <a:gd name="connsiteY3" fmla="*/ 819718 h 2384246"/>
                  <a:gd name="connsiteX4" fmla="*/ 2105311 w 9613309"/>
                  <a:gd name="connsiteY4" fmla="*/ 762626 h 2384246"/>
                  <a:gd name="connsiteX5" fmla="*/ 2724467 w 9613309"/>
                  <a:gd name="connsiteY5" fmla="*/ 691266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302788 w 9613309"/>
                  <a:gd name="connsiteY19" fmla="*/ 213143 h 2384246"/>
                  <a:gd name="connsiteX20" fmla="*/ 9596531 w 9613309"/>
                  <a:gd name="connsiteY20" fmla="*/ 8389 h 2384246"/>
                  <a:gd name="connsiteX21" fmla="*/ 9596531 w 9613309"/>
                  <a:gd name="connsiteY21" fmla="*/ 8389 h 2384246"/>
                  <a:gd name="connsiteX22" fmla="*/ 9596531 w 9613309"/>
                  <a:gd name="connsiteY22" fmla="*/ 8389 h 2384246"/>
                  <a:gd name="connsiteX23" fmla="*/ 9613309 w 9613309"/>
                  <a:gd name="connsiteY23" fmla="*/ 0 h 2384246"/>
                  <a:gd name="connsiteX0" fmla="*/ 0 w 9613309"/>
                  <a:gd name="connsiteY0" fmla="*/ 889834 h 2384246"/>
                  <a:gd name="connsiteX1" fmla="*/ 954791 w 9613309"/>
                  <a:gd name="connsiteY1" fmla="*/ 883942 h 2384246"/>
                  <a:gd name="connsiteX2" fmla="*/ 1307567 w 9613309"/>
                  <a:gd name="connsiteY2" fmla="*/ 855398 h 2384246"/>
                  <a:gd name="connsiteX3" fmla="*/ 1722173 w 9613309"/>
                  <a:gd name="connsiteY3" fmla="*/ 819718 h 2384246"/>
                  <a:gd name="connsiteX4" fmla="*/ 2105311 w 9613309"/>
                  <a:gd name="connsiteY4" fmla="*/ 762626 h 2384246"/>
                  <a:gd name="connsiteX5" fmla="*/ 2724467 w 9613309"/>
                  <a:gd name="connsiteY5" fmla="*/ 691266 h 2384246"/>
                  <a:gd name="connsiteX6" fmla="*/ 3887470 w 9613309"/>
                  <a:gd name="connsiteY6" fmla="*/ 455772 h 2384246"/>
                  <a:gd name="connsiteX7" fmla="*/ 4461224 w 9613309"/>
                  <a:gd name="connsiteY7" fmla="*/ 355866 h 2384246"/>
                  <a:gd name="connsiteX8" fmla="*/ 5058417 w 9613309"/>
                  <a:gd name="connsiteY8" fmla="*/ 291641 h 2384246"/>
                  <a:gd name="connsiteX9" fmla="*/ 5541060 w 9613309"/>
                  <a:gd name="connsiteY9" fmla="*/ 314615 h 2384246"/>
                  <a:gd name="connsiteX10" fmla="*/ 5983430 w 9613309"/>
                  <a:gd name="connsiteY10" fmla="*/ 527134 h 2384246"/>
                  <a:gd name="connsiteX11" fmla="*/ 6232137 w 9613309"/>
                  <a:gd name="connsiteY11" fmla="*/ 784035 h 2384246"/>
                  <a:gd name="connsiteX12" fmla="*/ 6577281 w 9613309"/>
                  <a:gd name="connsiteY12" fmla="*/ 1484957 h 2384246"/>
                  <a:gd name="connsiteX13" fmla="*/ 7086397 w 9613309"/>
                  <a:gd name="connsiteY13" fmla="*/ 2196994 h 2384246"/>
                  <a:gd name="connsiteX14" fmla="*/ 7405194 w 9613309"/>
                  <a:gd name="connsiteY14" fmla="*/ 2353988 h 2384246"/>
                  <a:gd name="connsiteX15" fmla="*/ 7757432 w 9613309"/>
                  <a:gd name="connsiteY15" fmla="*/ 2366678 h 2384246"/>
                  <a:gd name="connsiteX16" fmla="*/ 8049227 w 9613309"/>
                  <a:gd name="connsiteY16" fmla="*/ 2161312 h 2384246"/>
                  <a:gd name="connsiteX17" fmla="*/ 8244735 w 9613309"/>
                  <a:gd name="connsiteY17" fmla="*/ 1990043 h 2384246"/>
                  <a:gd name="connsiteX18" fmla="*/ 8556966 w 9613309"/>
                  <a:gd name="connsiteY18" fmla="*/ 1668920 h 2384246"/>
                  <a:gd name="connsiteX19" fmla="*/ 9302788 w 9613309"/>
                  <a:gd name="connsiteY19" fmla="*/ 213143 h 2384246"/>
                  <a:gd name="connsiteX20" fmla="*/ 9596531 w 9613309"/>
                  <a:gd name="connsiteY20" fmla="*/ 8389 h 2384246"/>
                  <a:gd name="connsiteX21" fmla="*/ 9596531 w 9613309"/>
                  <a:gd name="connsiteY21" fmla="*/ 8389 h 2384246"/>
                  <a:gd name="connsiteX22" fmla="*/ 9596531 w 9613309"/>
                  <a:gd name="connsiteY22" fmla="*/ 8389 h 2384246"/>
                  <a:gd name="connsiteX23" fmla="*/ 9613309 w 9613309"/>
                  <a:gd name="connsiteY23" fmla="*/ 0 h 2384246"/>
                  <a:gd name="connsiteX0" fmla="*/ 0 w 9613309"/>
                  <a:gd name="connsiteY0" fmla="*/ 889834 h 2384246"/>
                  <a:gd name="connsiteX1" fmla="*/ 404653 w 9613309"/>
                  <a:gd name="connsiteY1" fmla="*/ 905350 h 2384246"/>
                  <a:gd name="connsiteX2" fmla="*/ 954791 w 9613309"/>
                  <a:gd name="connsiteY2" fmla="*/ 883942 h 2384246"/>
                  <a:gd name="connsiteX3" fmla="*/ 1307567 w 9613309"/>
                  <a:gd name="connsiteY3" fmla="*/ 855398 h 2384246"/>
                  <a:gd name="connsiteX4" fmla="*/ 1722173 w 9613309"/>
                  <a:gd name="connsiteY4" fmla="*/ 819718 h 2384246"/>
                  <a:gd name="connsiteX5" fmla="*/ 2105311 w 9613309"/>
                  <a:gd name="connsiteY5" fmla="*/ 762626 h 2384246"/>
                  <a:gd name="connsiteX6" fmla="*/ 2724467 w 9613309"/>
                  <a:gd name="connsiteY6" fmla="*/ 691266 h 2384246"/>
                  <a:gd name="connsiteX7" fmla="*/ 3887470 w 9613309"/>
                  <a:gd name="connsiteY7" fmla="*/ 455772 h 2384246"/>
                  <a:gd name="connsiteX8" fmla="*/ 4461224 w 9613309"/>
                  <a:gd name="connsiteY8" fmla="*/ 355866 h 2384246"/>
                  <a:gd name="connsiteX9" fmla="*/ 5058417 w 9613309"/>
                  <a:gd name="connsiteY9" fmla="*/ 291641 h 2384246"/>
                  <a:gd name="connsiteX10" fmla="*/ 5541060 w 9613309"/>
                  <a:gd name="connsiteY10" fmla="*/ 314615 h 2384246"/>
                  <a:gd name="connsiteX11" fmla="*/ 5983430 w 9613309"/>
                  <a:gd name="connsiteY11" fmla="*/ 527134 h 2384246"/>
                  <a:gd name="connsiteX12" fmla="*/ 6232137 w 9613309"/>
                  <a:gd name="connsiteY12" fmla="*/ 784035 h 2384246"/>
                  <a:gd name="connsiteX13" fmla="*/ 6577281 w 9613309"/>
                  <a:gd name="connsiteY13" fmla="*/ 1484957 h 2384246"/>
                  <a:gd name="connsiteX14" fmla="*/ 7086397 w 9613309"/>
                  <a:gd name="connsiteY14" fmla="*/ 2196994 h 2384246"/>
                  <a:gd name="connsiteX15" fmla="*/ 7405194 w 9613309"/>
                  <a:gd name="connsiteY15" fmla="*/ 2353988 h 2384246"/>
                  <a:gd name="connsiteX16" fmla="*/ 7757432 w 9613309"/>
                  <a:gd name="connsiteY16" fmla="*/ 2366678 h 2384246"/>
                  <a:gd name="connsiteX17" fmla="*/ 8049227 w 9613309"/>
                  <a:gd name="connsiteY17" fmla="*/ 2161312 h 2384246"/>
                  <a:gd name="connsiteX18" fmla="*/ 8244735 w 9613309"/>
                  <a:gd name="connsiteY18" fmla="*/ 1990043 h 2384246"/>
                  <a:gd name="connsiteX19" fmla="*/ 8556966 w 9613309"/>
                  <a:gd name="connsiteY19" fmla="*/ 1668920 h 2384246"/>
                  <a:gd name="connsiteX20" fmla="*/ 9302788 w 9613309"/>
                  <a:gd name="connsiteY20" fmla="*/ 213143 h 2384246"/>
                  <a:gd name="connsiteX21" fmla="*/ 9596531 w 9613309"/>
                  <a:gd name="connsiteY21" fmla="*/ 8389 h 2384246"/>
                  <a:gd name="connsiteX22" fmla="*/ 9596531 w 9613309"/>
                  <a:gd name="connsiteY22" fmla="*/ 8389 h 2384246"/>
                  <a:gd name="connsiteX23" fmla="*/ 9596531 w 9613309"/>
                  <a:gd name="connsiteY23" fmla="*/ 8389 h 2384246"/>
                  <a:gd name="connsiteX24" fmla="*/ 9613309 w 9613309"/>
                  <a:gd name="connsiteY24" fmla="*/ 0 h 2384246"/>
                  <a:gd name="connsiteX0" fmla="*/ 0 w 9613309"/>
                  <a:gd name="connsiteY0" fmla="*/ 889834 h 2360161"/>
                  <a:gd name="connsiteX1" fmla="*/ 404653 w 9613309"/>
                  <a:gd name="connsiteY1" fmla="*/ 905350 h 2360161"/>
                  <a:gd name="connsiteX2" fmla="*/ 954791 w 9613309"/>
                  <a:gd name="connsiteY2" fmla="*/ 883942 h 2360161"/>
                  <a:gd name="connsiteX3" fmla="*/ 1307567 w 9613309"/>
                  <a:gd name="connsiteY3" fmla="*/ 855398 h 2360161"/>
                  <a:gd name="connsiteX4" fmla="*/ 1722173 w 9613309"/>
                  <a:gd name="connsiteY4" fmla="*/ 819718 h 2360161"/>
                  <a:gd name="connsiteX5" fmla="*/ 2105311 w 9613309"/>
                  <a:gd name="connsiteY5" fmla="*/ 762626 h 2360161"/>
                  <a:gd name="connsiteX6" fmla="*/ 2724467 w 9613309"/>
                  <a:gd name="connsiteY6" fmla="*/ 691266 h 2360161"/>
                  <a:gd name="connsiteX7" fmla="*/ 3887470 w 9613309"/>
                  <a:gd name="connsiteY7" fmla="*/ 455772 h 2360161"/>
                  <a:gd name="connsiteX8" fmla="*/ 4461224 w 9613309"/>
                  <a:gd name="connsiteY8" fmla="*/ 355866 h 2360161"/>
                  <a:gd name="connsiteX9" fmla="*/ 5058417 w 9613309"/>
                  <a:gd name="connsiteY9" fmla="*/ 291641 h 2360161"/>
                  <a:gd name="connsiteX10" fmla="*/ 5541060 w 9613309"/>
                  <a:gd name="connsiteY10" fmla="*/ 314615 h 2360161"/>
                  <a:gd name="connsiteX11" fmla="*/ 5983430 w 9613309"/>
                  <a:gd name="connsiteY11" fmla="*/ 527134 h 2360161"/>
                  <a:gd name="connsiteX12" fmla="*/ 6232137 w 9613309"/>
                  <a:gd name="connsiteY12" fmla="*/ 784035 h 2360161"/>
                  <a:gd name="connsiteX13" fmla="*/ 6577281 w 9613309"/>
                  <a:gd name="connsiteY13" fmla="*/ 1484957 h 2360161"/>
                  <a:gd name="connsiteX14" fmla="*/ 7086397 w 9613309"/>
                  <a:gd name="connsiteY14" fmla="*/ 2196994 h 2360161"/>
                  <a:gd name="connsiteX15" fmla="*/ 7405194 w 9613309"/>
                  <a:gd name="connsiteY15" fmla="*/ 2353988 h 2360161"/>
                  <a:gd name="connsiteX16" fmla="*/ 7660627 w 9613309"/>
                  <a:gd name="connsiteY16" fmla="*/ 2273908 h 2360161"/>
                  <a:gd name="connsiteX17" fmla="*/ 8049227 w 9613309"/>
                  <a:gd name="connsiteY17" fmla="*/ 2161312 h 2360161"/>
                  <a:gd name="connsiteX18" fmla="*/ 8244735 w 9613309"/>
                  <a:gd name="connsiteY18" fmla="*/ 1990043 h 2360161"/>
                  <a:gd name="connsiteX19" fmla="*/ 8556966 w 9613309"/>
                  <a:gd name="connsiteY19" fmla="*/ 1668920 h 2360161"/>
                  <a:gd name="connsiteX20" fmla="*/ 9302788 w 9613309"/>
                  <a:gd name="connsiteY20" fmla="*/ 213143 h 2360161"/>
                  <a:gd name="connsiteX21" fmla="*/ 9596531 w 9613309"/>
                  <a:gd name="connsiteY21" fmla="*/ 8389 h 2360161"/>
                  <a:gd name="connsiteX22" fmla="*/ 9596531 w 9613309"/>
                  <a:gd name="connsiteY22" fmla="*/ 8389 h 2360161"/>
                  <a:gd name="connsiteX23" fmla="*/ 9596531 w 9613309"/>
                  <a:gd name="connsiteY23" fmla="*/ 8389 h 2360161"/>
                  <a:gd name="connsiteX24" fmla="*/ 9613309 w 9613309"/>
                  <a:gd name="connsiteY24" fmla="*/ 0 h 2360161"/>
                  <a:gd name="connsiteX0" fmla="*/ 0 w 9613309"/>
                  <a:gd name="connsiteY0" fmla="*/ 889834 h 2360934"/>
                  <a:gd name="connsiteX1" fmla="*/ 404653 w 9613309"/>
                  <a:gd name="connsiteY1" fmla="*/ 905350 h 2360934"/>
                  <a:gd name="connsiteX2" fmla="*/ 954791 w 9613309"/>
                  <a:gd name="connsiteY2" fmla="*/ 883942 h 2360934"/>
                  <a:gd name="connsiteX3" fmla="*/ 1307567 w 9613309"/>
                  <a:gd name="connsiteY3" fmla="*/ 855398 h 2360934"/>
                  <a:gd name="connsiteX4" fmla="*/ 1722173 w 9613309"/>
                  <a:gd name="connsiteY4" fmla="*/ 819718 h 2360934"/>
                  <a:gd name="connsiteX5" fmla="*/ 2105311 w 9613309"/>
                  <a:gd name="connsiteY5" fmla="*/ 762626 h 2360934"/>
                  <a:gd name="connsiteX6" fmla="*/ 2724467 w 9613309"/>
                  <a:gd name="connsiteY6" fmla="*/ 691266 h 2360934"/>
                  <a:gd name="connsiteX7" fmla="*/ 3887470 w 9613309"/>
                  <a:gd name="connsiteY7" fmla="*/ 455772 h 2360934"/>
                  <a:gd name="connsiteX8" fmla="*/ 4461224 w 9613309"/>
                  <a:gd name="connsiteY8" fmla="*/ 355866 h 2360934"/>
                  <a:gd name="connsiteX9" fmla="*/ 5058417 w 9613309"/>
                  <a:gd name="connsiteY9" fmla="*/ 291641 h 2360934"/>
                  <a:gd name="connsiteX10" fmla="*/ 5541060 w 9613309"/>
                  <a:gd name="connsiteY10" fmla="*/ 314615 h 2360934"/>
                  <a:gd name="connsiteX11" fmla="*/ 5983430 w 9613309"/>
                  <a:gd name="connsiteY11" fmla="*/ 527134 h 2360934"/>
                  <a:gd name="connsiteX12" fmla="*/ 6232137 w 9613309"/>
                  <a:gd name="connsiteY12" fmla="*/ 784035 h 2360934"/>
                  <a:gd name="connsiteX13" fmla="*/ 6577281 w 9613309"/>
                  <a:gd name="connsiteY13" fmla="*/ 1484957 h 2360934"/>
                  <a:gd name="connsiteX14" fmla="*/ 7086397 w 9613309"/>
                  <a:gd name="connsiteY14" fmla="*/ 2196994 h 2360934"/>
                  <a:gd name="connsiteX15" fmla="*/ 7405194 w 9613309"/>
                  <a:gd name="connsiteY15" fmla="*/ 2353988 h 2360934"/>
                  <a:gd name="connsiteX16" fmla="*/ 7660627 w 9613309"/>
                  <a:gd name="connsiteY16" fmla="*/ 2273908 h 2360934"/>
                  <a:gd name="connsiteX17" fmla="*/ 7952422 w 9613309"/>
                  <a:gd name="connsiteY17" fmla="*/ 2089951 h 2360934"/>
                  <a:gd name="connsiteX18" fmla="*/ 8244735 w 9613309"/>
                  <a:gd name="connsiteY18" fmla="*/ 1990043 h 2360934"/>
                  <a:gd name="connsiteX19" fmla="*/ 8556966 w 9613309"/>
                  <a:gd name="connsiteY19" fmla="*/ 1668920 h 2360934"/>
                  <a:gd name="connsiteX20" fmla="*/ 9302788 w 9613309"/>
                  <a:gd name="connsiteY20" fmla="*/ 213143 h 2360934"/>
                  <a:gd name="connsiteX21" fmla="*/ 9596531 w 9613309"/>
                  <a:gd name="connsiteY21" fmla="*/ 8389 h 2360934"/>
                  <a:gd name="connsiteX22" fmla="*/ 9596531 w 9613309"/>
                  <a:gd name="connsiteY22" fmla="*/ 8389 h 2360934"/>
                  <a:gd name="connsiteX23" fmla="*/ 9596531 w 9613309"/>
                  <a:gd name="connsiteY23" fmla="*/ 8389 h 2360934"/>
                  <a:gd name="connsiteX24" fmla="*/ 9613309 w 9613309"/>
                  <a:gd name="connsiteY24" fmla="*/ 0 h 2360934"/>
                  <a:gd name="connsiteX0" fmla="*/ 0 w 9613309"/>
                  <a:gd name="connsiteY0" fmla="*/ 889834 h 2360934"/>
                  <a:gd name="connsiteX1" fmla="*/ 404653 w 9613309"/>
                  <a:gd name="connsiteY1" fmla="*/ 905350 h 2360934"/>
                  <a:gd name="connsiteX2" fmla="*/ 954791 w 9613309"/>
                  <a:gd name="connsiteY2" fmla="*/ 883942 h 2360934"/>
                  <a:gd name="connsiteX3" fmla="*/ 1307567 w 9613309"/>
                  <a:gd name="connsiteY3" fmla="*/ 855398 h 2360934"/>
                  <a:gd name="connsiteX4" fmla="*/ 1722173 w 9613309"/>
                  <a:gd name="connsiteY4" fmla="*/ 819718 h 2360934"/>
                  <a:gd name="connsiteX5" fmla="*/ 2105311 w 9613309"/>
                  <a:gd name="connsiteY5" fmla="*/ 762626 h 2360934"/>
                  <a:gd name="connsiteX6" fmla="*/ 2724467 w 9613309"/>
                  <a:gd name="connsiteY6" fmla="*/ 691266 h 2360934"/>
                  <a:gd name="connsiteX7" fmla="*/ 3887470 w 9613309"/>
                  <a:gd name="connsiteY7" fmla="*/ 455772 h 2360934"/>
                  <a:gd name="connsiteX8" fmla="*/ 4461224 w 9613309"/>
                  <a:gd name="connsiteY8" fmla="*/ 355866 h 2360934"/>
                  <a:gd name="connsiteX9" fmla="*/ 5058417 w 9613309"/>
                  <a:gd name="connsiteY9" fmla="*/ 291641 h 2360934"/>
                  <a:gd name="connsiteX10" fmla="*/ 5541060 w 9613309"/>
                  <a:gd name="connsiteY10" fmla="*/ 314615 h 2360934"/>
                  <a:gd name="connsiteX11" fmla="*/ 5983430 w 9613309"/>
                  <a:gd name="connsiteY11" fmla="*/ 527134 h 2360934"/>
                  <a:gd name="connsiteX12" fmla="*/ 6232137 w 9613309"/>
                  <a:gd name="connsiteY12" fmla="*/ 784035 h 2360934"/>
                  <a:gd name="connsiteX13" fmla="*/ 6577281 w 9613309"/>
                  <a:gd name="connsiteY13" fmla="*/ 1484957 h 2360934"/>
                  <a:gd name="connsiteX14" fmla="*/ 7086397 w 9613309"/>
                  <a:gd name="connsiteY14" fmla="*/ 2196994 h 2360934"/>
                  <a:gd name="connsiteX15" fmla="*/ 7405194 w 9613309"/>
                  <a:gd name="connsiteY15" fmla="*/ 2353988 h 2360934"/>
                  <a:gd name="connsiteX16" fmla="*/ 7660627 w 9613309"/>
                  <a:gd name="connsiteY16" fmla="*/ 2273908 h 2360934"/>
                  <a:gd name="connsiteX17" fmla="*/ 7952422 w 9613309"/>
                  <a:gd name="connsiteY17" fmla="*/ 2089951 h 2360934"/>
                  <a:gd name="connsiteX18" fmla="*/ 8184231 w 9613309"/>
                  <a:gd name="connsiteY18" fmla="*/ 1947226 h 2360934"/>
                  <a:gd name="connsiteX19" fmla="*/ 8556966 w 9613309"/>
                  <a:gd name="connsiteY19" fmla="*/ 1668920 h 2360934"/>
                  <a:gd name="connsiteX20" fmla="*/ 9302788 w 9613309"/>
                  <a:gd name="connsiteY20" fmla="*/ 213143 h 2360934"/>
                  <a:gd name="connsiteX21" fmla="*/ 9596531 w 9613309"/>
                  <a:gd name="connsiteY21" fmla="*/ 8389 h 2360934"/>
                  <a:gd name="connsiteX22" fmla="*/ 9596531 w 9613309"/>
                  <a:gd name="connsiteY22" fmla="*/ 8389 h 2360934"/>
                  <a:gd name="connsiteX23" fmla="*/ 9596531 w 9613309"/>
                  <a:gd name="connsiteY23" fmla="*/ 8389 h 2360934"/>
                  <a:gd name="connsiteX24" fmla="*/ 9613309 w 9613309"/>
                  <a:gd name="connsiteY24" fmla="*/ 0 h 2360934"/>
                  <a:gd name="connsiteX0" fmla="*/ 0 w 9613309"/>
                  <a:gd name="connsiteY0" fmla="*/ 889834 h 2360934"/>
                  <a:gd name="connsiteX1" fmla="*/ 404653 w 9613309"/>
                  <a:gd name="connsiteY1" fmla="*/ 905350 h 2360934"/>
                  <a:gd name="connsiteX2" fmla="*/ 954791 w 9613309"/>
                  <a:gd name="connsiteY2" fmla="*/ 883942 h 2360934"/>
                  <a:gd name="connsiteX3" fmla="*/ 1307567 w 9613309"/>
                  <a:gd name="connsiteY3" fmla="*/ 855398 h 2360934"/>
                  <a:gd name="connsiteX4" fmla="*/ 1722173 w 9613309"/>
                  <a:gd name="connsiteY4" fmla="*/ 819718 h 2360934"/>
                  <a:gd name="connsiteX5" fmla="*/ 2105311 w 9613309"/>
                  <a:gd name="connsiteY5" fmla="*/ 762626 h 2360934"/>
                  <a:gd name="connsiteX6" fmla="*/ 2724467 w 9613309"/>
                  <a:gd name="connsiteY6" fmla="*/ 691266 h 2360934"/>
                  <a:gd name="connsiteX7" fmla="*/ 3887470 w 9613309"/>
                  <a:gd name="connsiteY7" fmla="*/ 455772 h 2360934"/>
                  <a:gd name="connsiteX8" fmla="*/ 4461224 w 9613309"/>
                  <a:gd name="connsiteY8" fmla="*/ 355866 h 2360934"/>
                  <a:gd name="connsiteX9" fmla="*/ 5058417 w 9613309"/>
                  <a:gd name="connsiteY9" fmla="*/ 291641 h 2360934"/>
                  <a:gd name="connsiteX10" fmla="*/ 5541060 w 9613309"/>
                  <a:gd name="connsiteY10" fmla="*/ 314615 h 2360934"/>
                  <a:gd name="connsiteX11" fmla="*/ 5983430 w 9613309"/>
                  <a:gd name="connsiteY11" fmla="*/ 527134 h 2360934"/>
                  <a:gd name="connsiteX12" fmla="*/ 6232137 w 9613309"/>
                  <a:gd name="connsiteY12" fmla="*/ 784035 h 2360934"/>
                  <a:gd name="connsiteX13" fmla="*/ 6577281 w 9613309"/>
                  <a:gd name="connsiteY13" fmla="*/ 1484957 h 2360934"/>
                  <a:gd name="connsiteX14" fmla="*/ 7086397 w 9613309"/>
                  <a:gd name="connsiteY14" fmla="*/ 2196994 h 2360934"/>
                  <a:gd name="connsiteX15" fmla="*/ 7405194 w 9613309"/>
                  <a:gd name="connsiteY15" fmla="*/ 2353988 h 2360934"/>
                  <a:gd name="connsiteX16" fmla="*/ 7660627 w 9613309"/>
                  <a:gd name="connsiteY16" fmla="*/ 2273908 h 2360934"/>
                  <a:gd name="connsiteX17" fmla="*/ 7952422 w 9613309"/>
                  <a:gd name="connsiteY17" fmla="*/ 2089951 h 2360934"/>
                  <a:gd name="connsiteX18" fmla="*/ 8184231 w 9613309"/>
                  <a:gd name="connsiteY18" fmla="*/ 1947226 h 2360934"/>
                  <a:gd name="connsiteX19" fmla="*/ 8411758 w 9613309"/>
                  <a:gd name="connsiteY19" fmla="*/ 1640375 h 2360934"/>
                  <a:gd name="connsiteX20" fmla="*/ 9302788 w 9613309"/>
                  <a:gd name="connsiteY20" fmla="*/ 213143 h 2360934"/>
                  <a:gd name="connsiteX21" fmla="*/ 9596531 w 9613309"/>
                  <a:gd name="connsiteY21" fmla="*/ 8389 h 2360934"/>
                  <a:gd name="connsiteX22" fmla="*/ 9596531 w 9613309"/>
                  <a:gd name="connsiteY22" fmla="*/ 8389 h 2360934"/>
                  <a:gd name="connsiteX23" fmla="*/ 9596531 w 9613309"/>
                  <a:gd name="connsiteY23" fmla="*/ 8389 h 2360934"/>
                  <a:gd name="connsiteX24" fmla="*/ 9613309 w 9613309"/>
                  <a:gd name="connsiteY24" fmla="*/ 0 h 2360934"/>
                  <a:gd name="connsiteX0" fmla="*/ 0 w 9613309"/>
                  <a:gd name="connsiteY0" fmla="*/ 889834 h 2360934"/>
                  <a:gd name="connsiteX1" fmla="*/ 404653 w 9613309"/>
                  <a:gd name="connsiteY1" fmla="*/ 905350 h 2360934"/>
                  <a:gd name="connsiteX2" fmla="*/ 954791 w 9613309"/>
                  <a:gd name="connsiteY2" fmla="*/ 883942 h 2360934"/>
                  <a:gd name="connsiteX3" fmla="*/ 1307567 w 9613309"/>
                  <a:gd name="connsiteY3" fmla="*/ 855398 h 2360934"/>
                  <a:gd name="connsiteX4" fmla="*/ 1722173 w 9613309"/>
                  <a:gd name="connsiteY4" fmla="*/ 819718 h 2360934"/>
                  <a:gd name="connsiteX5" fmla="*/ 2105311 w 9613309"/>
                  <a:gd name="connsiteY5" fmla="*/ 762626 h 2360934"/>
                  <a:gd name="connsiteX6" fmla="*/ 2724467 w 9613309"/>
                  <a:gd name="connsiteY6" fmla="*/ 691266 h 2360934"/>
                  <a:gd name="connsiteX7" fmla="*/ 3887470 w 9613309"/>
                  <a:gd name="connsiteY7" fmla="*/ 455772 h 2360934"/>
                  <a:gd name="connsiteX8" fmla="*/ 4461224 w 9613309"/>
                  <a:gd name="connsiteY8" fmla="*/ 355866 h 2360934"/>
                  <a:gd name="connsiteX9" fmla="*/ 5058417 w 9613309"/>
                  <a:gd name="connsiteY9" fmla="*/ 291641 h 2360934"/>
                  <a:gd name="connsiteX10" fmla="*/ 5541060 w 9613309"/>
                  <a:gd name="connsiteY10" fmla="*/ 314615 h 2360934"/>
                  <a:gd name="connsiteX11" fmla="*/ 5983430 w 9613309"/>
                  <a:gd name="connsiteY11" fmla="*/ 527134 h 2360934"/>
                  <a:gd name="connsiteX12" fmla="*/ 6232137 w 9613309"/>
                  <a:gd name="connsiteY12" fmla="*/ 784035 h 2360934"/>
                  <a:gd name="connsiteX13" fmla="*/ 6395770 w 9613309"/>
                  <a:gd name="connsiteY13" fmla="*/ 1506365 h 2360934"/>
                  <a:gd name="connsiteX14" fmla="*/ 7086397 w 9613309"/>
                  <a:gd name="connsiteY14" fmla="*/ 2196994 h 2360934"/>
                  <a:gd name="connsiteX15" fmla="*/ 7405194 w 9613309"/>
                  <a:gd name="connsiteY15" fmla="*/ 2353988 h 2360934"/>
                  <a:gd name="connsiteX16" fmla="*/ 7660627 w 9613309"/>
                  <a:gd name="connsiteY16" fmla="*/ 2273908 h 2360934"/>
                  <a:gd name="connsiteX17" fmla="*/ 7952422 w 9613309"/>
                  <a:gd name="connsiteY17" fmla="*/ 2089951 h 2360934"/>
                  <a:gd name="connsiteX18" fmla="*/ 8184231 w 9613309"/>
                  <a:gd name="connsiteY18" fmla="*/ 1947226 h 2360934"/>
                  <a:gd name="connsiteX19" fmla="*/ 8411758 w 9613309"/>
                  <a:gd name="connsiteY19" fmla="*/ 1640375 h 2360934"/>
                  <a:gd name="connsiteX20" fmla="*/ 9302788 w 9613309"/>
                  <a:gd name="connsiteY20" fmla="*/ 213143 h 2360934"/>
                  <a:gd name="connsiteX21" fmla="*/ 9596531 w 9613309"/>
                  <a:gd name="connsiteY21" fmla="*/ 8389 h 2360934"/>
                  <a:gd name="connsiteX22" fmla="*/ 9596531 w 9613309"/>
                  <a:gd name="connsiteY22" fmla="*/ 8389 h 2360934"/>
                  <a:gd name="connsiteX23" fmla="*/ 9596531 w 9613309"/>
                  <a:gd name="connsiteY23" fmla="*/ 8389 h 2360934"/>
                  <a:gd name="connsiteX24" fmla="*/ 9613309 w 9613309"/>
                  <a:gd name="connsiteY24" fmla="*/ 0 h 2360934"/>
                  <a:gd name="connsiteX0" fmla="*/ 0 w 9613309"/>
                  <a:gd name="connsiteY0" fmla="*/ 889834 h 2360934"/>
                  <a:gd name="connsiteX1" fmla="*/ 404653 w 9613309"/>
                  <a:gd name="connsiteY1" fmla="*/ 905350 h 2360934"/>
                  <a:gd name="connsiteX2" fmla="*/ 954791 w 9613309"/>
                  <a:gd name="connsiteY2" fmla="*/ 883942 h 2360934"/>
                  <a:gd name="connsiteX3" fmla="*/ 1307567 w 9613309"/>
                  <a:gd name="connsiteY3" fmla="*/ 855398 h 2360934"/>
                  <a:gd name="connsiteX4" fmla="*/ 1722173 w 9613309"/>
                  <a:gd name="connsiteY4" fmla="*/ 819718 h 2360934"/>
                  <a:gd name="connsiteX5" fmla="*/ 2105311 w 9613309"/>
                  <a:gd name="connsiteY5" fmla="*/ 762626 h 2360934"/>
                  <a:gd name="connsiteX6" fmla="*/ 2724467 w 9613309"/>
                  <a:gd name="connsiteY6" fmla="*/ 691266 h 2360934"/>
                  <a:gd name="connsiteX7" fmla="*/ 3887470 w 9613309"/>
                  <a:gd name="connsiteY7" fmla="*/ 455772 h 2360934"/>
                  <a:gd name="connsiteX8" fmla="*/ 4461224 w 9613309"/>
                  <a:gd name="connsiteY8" fmla="*/ 355866 h 2360934"/>
                  <a:gd name="connsiteX9" fmla="*/ 5058417 w 9613309"/>
                  <a:gd name="connsiteY9" fmla="*/ 291641 h 2360934"/>
                  <a:gd name="connsiteX10" fmla="*/ 5541060 w 9613309"/>
                  <a:gd name="connsiteY10" fmla="*/ 314615 h 2360934"/>
                  <a:gd name="connsiteX11" fmla="*/ 5983430 w 9613309"/>
                  <a:gd name="connsiteY11" fmla="*/ 527134 h 2360934"/>
                  <a:gd name="connsiteX12" fmla="*/ 6123231 w 9613309"/>
                  <a:gd name="connsiteY12" fmla="*/ 784035 h 2360934"/>
                  <a:gd name="connsiteX13" fmla="*/ 6395770 w 9613309"/>
                  <a:gd name="connsiteY13" fmla="*/ 1506365 h 2360934"/>
                  <a:gd name="connsiteX14" fmla="*/ 7086397 w 9613309"/>
                  <a:gd name="connsiteY14" fmla="*/ 2196994 h 2360934"/>
                  <a:gd name="connsiteX15" fmla="*/ 7405194 w 9613309"/>
                  <a:gd name="connsiteY15" fmla="*/ 2353988 h 2360934"/>
                  <a:gd name="connsiteX16" fmla="*/ 7660627 w 9613309"/>
                  <a:gd name="connsiteY16" fmla="*/ 2273908 h 2360934"/>
                  <a:gd name="connsiteX17" fmla="*/ 7952422 w 9613309"/>
                  <a:gd name="connsiteY17" fmla="*/ 2089951 h 2360934"/>
                  <a:gd name="connsiteX18" fmla="*/ 8184231 w 9613309"/>
                  <a:gd name="connsiteY18" fmla="*/ 1947226 h 2360934"/>
                  <a:gd name="connsiteX19" fmla="*/ 8411758 w 9613309"/>
                  <a:gd name="connsiteY19" fmla="*/ 1640375 h 2360934"/>
                  <a:gd name="connsiteX20" fmla="*/ 9302788 w 9613309"/>
                  <a:gd name="connsiteY20" fmla="*/ 213143 h 2360934"/>
                  <a:gd name="connsiteX21" fmla="*/ 9596531 w 9613309"/>
                  <a:gd name="connsiteY21" fmla="*/ 8389 h 2360934"/>
                  <a:gd name="connsiteX22" fmla="*/ 9596531 w 9613309"/>
                  <a:gd name="connsiteY22" fmla="*/ 8389 h 2360934"/>
                  <a:gd name="connsiteX23" fmla="*/ 9596531 w 9613309"/>
                  <a:gd name="connsiteY23" fmla="*/ 8389 h 2360934"/>
                  <a:gd name="connsiteX24" fmla="*/ 9613309 w 9613309"/>
                  <a:gd name="connsiteY24" fmla="*/ 0 h 2360934"/>
                  <a:gd name="connsiteX0" fmla="*/ 0 w 9613309"/>
                  <a:gd name="connsiteY0" fmla="*/ 889834 h 2360934"/>
                  <a:gd name="connsiteX1" fmla="*/ 404653 w 9613309"/>
                  <a:gd name="connsiteY1" fmla="*/ 905350 h 2360934"/>
                  <a:gd name="connsiteX2" fmla="*/ 954791 w 9613309"/>
                  <a:gd name="connsiteY2" fmla="*/ 883942 h 2360934"/>
                  <a:gd name="connsiteX3" fmla="*/ 1307567 w 9613309"/>
                  <a:gd name="connsiteY3" fmla="*/ 855398 h 2360934"/>
                  <a:gd name="connsiteX4" fmla="*/ 1722173 w 9613309"/>
                  <a:gd name="connsiteY4" fmla="*/ 819718 h 2360934"/>
                  <a:gd name="connsiteX5" fmla="*/ 2105311 w 9613309"/>
                  <a:gd name="connsiteY5" fmla="*/ 762626 h 2360934"/>
                  <a:gd name="connsiteX6" fmla="*/ 2724467 w 9613309"/>
                  <a:gd name="connsiteY6" fmla="*/ 691266 h 2360934"/>
                  <a:gd name="connsiteX7" fmla="*/ 3887470 w 9613309"/>
                  <a:gd name="connsiteY7" fmla="*/ 455772 h 2360934"/>
                  <a:gd name="connsiteX8" fmla="*/ 4461224 w 9613309"/>
                  <a:gd name="connsiteY8" fmla="*/ 355866 h 2360934"/>
                  <a:gd name="connsiteX9" fmla="*/ 5058417 w 9613309"/>
                  <a:gd name="connsiteY9" fmla="*/ 291641 h 2360934"/>
                  <a:gd name="connsiteX10" fmla="*/ 5541060 w 9613309"/>
                  <a:gd name="connsiteY10" fmla="*/ 314615 h 2360934"/>
                  <a:gd name="connsiteX11" fmla="*/ 5898724 w 9613309"/>
                  <a:gd name="connsiteY11" fmla="*/ 541406 h 2360934"/>
                  <a:gd name="connsiteX12" fmla="*/ 6123231 w 9613309"/>
                  <a:gd name="connsiteY12" fmla="*/ 784035 h 2360934"/>
                  <a:gd name="connsiteX13" fmla="*/ 6395770 w 9613309"/>
                  <a:gd name="connsiteY13" fmla="*/ 1506365 h 2360934"/>
                  <a:gd name="connsiteX14" fmla="*/ 7086397 w 9613309"/>
                  <a:gd name="connsiteY14" fmla="*/ 2196994 h 2360934"/>
                  <a:gd name="connsiteX15" fmla="*/ 7405194 w 9613309"/>
                  <a:gd name="connsiteY15" fmla="*/ 2353988 h 2360934"/>
                  <a:gd name="connsiteX16" fmla="*/ 7660627 w 9613309"/>
                  <a:gd name="connsiteY16" fmla="*/ 2273908 h 2360934"/>
                  <a:gd name="connsiteX17" fmla="*/ 7952422 w 9613309"/>
                  <a:gd name="connsiteY17" fmla="*/ 2089951 h 2360934"/>
                  <a:gd name="connsiteX18" fmla="*/ 8184231 w 9613309"/>
                  <a:gd name="connsiteY18" fmla="*/ 1947226 h 2360934"/>
                  <a:gd name="connsiteX19" fmla="*/ 8411758 w 9613309"/>
                  <a:gd name="connsiteY19" fmla="*/ 1640375 h 2360934"/>
                  <a:gd name="connsiteX20" fmla="*/ 9302788 w 9613309"/>
                  <a:gd name="connsiteY20" fmla="*/ 213143 h 2360934"/>
                  <a:gd name="connsiteX21" fmla="*/ 9596531 w 9613309"/>
                  <a:gd name="connsiteY21" fmla="*/ 8389 h 2360934"/>
                  <a:gd name="connsiteX22" fmla="*/ 9596531 w 9613309"/>
                  <a:gd name="connsiteY22" fmla="*/ 8389 h 2360934"/>
                  <a:gd name="connsiteX23" fmla="*/ 9596531 w 9613309"/>
                  <a:gd name="connsiteY23" fmla="*/ 8389 h 2360934"/>
                  <a:gd name="connsiteX24" fmla="*/ 9613309 w 9613309"/>
                  <a:gd name="connsiteY24" fmla="*/ 0 h 2360934"/>
                  <a:gd name="connsiteX0" fmla="*/ 0 w 9613309"/>
                  <a:gd name="connsiteY0" fmla="*/ 889834 h 2360934"/>
                  <a:gd name="connsiteX1" fmla="*/ 404653 w 9613309"/>
                  <a:gd name="connsiteY1" fmla="*/ 905350 h 2360934"/>
                  <a:gd name="connsiteX2" fmla="*/ 954791 w 9613309"/>
                  <a:gd name="connsiteY2" fmla="*/ 883942 h 2360934"/>
                  <a:gd name="connsiteX3" fmla="*/ 1307567 w 9613309"/>
                  <a:gd name="connsiteY3" fmla="*/ 855398 h 2360934"/>
                  <a:gd name="connsiteX4" fmla="*/ 1722173 w 9613309"/>
                  <a:gd name="connsiteY4" fmla="*/ 819718 h 2360934"/>
                  <a:gd name="connsiteX5" fmla="*/ 2105311 w 9613309"/>
                  <a:gd name="connsiteY5" fmla="*/ 762626 h 2360934"/>
                  <a:gd name="connsiteX6" fmla="*/ 2724467 w 9613309"/>
                  <a:gd name="connsiteY6" fmla="*/ 691266 h 2360934"/>
                  <a:gd name="connsiteX7" fmla="*/ 3887470 w 9613309"/>
                  <a:gd name="connsiteY7" fmla="*/ 455772 h 2360934"/>
                  <a:gd name="connsiteX8" fmla="*/ 4461224 w 9613309"/>
                  <a:gd name="connsiteY8" fmla="*/ 355866 h 2360934"/>
                  <a:gd name="connsiteX9" fmla="*/ 5058417 w 9613309"/>
                  <a:gd name="connsiteY9" fmla="*/ 291641 h 2360934"/>
                  <a:gd name="connsiteX10" fmla="*/ 5504757 w 9613309"/>
                  <a:gd name="connsiteY10" fmla="*/ 350296 h 2360934"/>
                  <a:gd name="connsiteX11" fmla="*/ 5898724 w 9613309"/>
                  <a:gd name="connsiteY11" fmla="*/ 541406 h 2360934"/>
                  <a:gd name="connsiteX12" fmla="*/ 6123231 w 9613309"/>
                  <a:gd name="connsiteY12" fmla="*/ 784035 h 2360934"/>
                  <a:gd name="connsiteX13" fmla="*/ 6395770 w 9613309"/>
                  <a:gd name="connsiteY13" fmla="*/ 1506365 h 2360934"/>
                  <a:gd name="connsiteX14" fmla="*/ 7086397 w 9613309"/>
                  <a:gd name="connsiteY14" fmla="*/ 2196994 h 2360934"/>
                  <a:gd name="connsiteX15" fmla="*/ 7405194 w 9613309"/>
                  <a:gd name="connsiteY15" fmla="*/ 2353988 h 2360934"/>
                  <a:gd name="connsiteX16" fmla="*/ 7660627 w 9613309"/>
                  <a:gd name="connsiteY16" fmla="*/ 2273908 h 2360934"/>
                  <a:gd name="connsiteX17" fmla="*/ 7952422 w 9613309"/>
                  <a:gd name="connsiteY17" fmla="*/ 2089951 h 2360934"/>
                  <a:gd name="connsiteX18" fmla="*/ 8184231 w 9613309"/>
                  <a:gd name="connsiteY18" fmla="*/ 1947226 h 2360934"/>
                  <a:gd name="connsiteX19" fmla="*/ 8411758 w 9613309"/>
                  <a:gd name="connsiteY19" fmla="*/ 1640375 h 2360934"/>
                  <a:gd name="connsiteX20" fmla="*/ 9302788 w 9613309"/>
                  <a:gd name="connsiteY20" fmla="*/ 213143 h 2360934"/>
                  <a:gd name="connsiteX21" fmla="*/ 9596531 w 9613309"/>
                  <a:gd name="connsiteY21" fmla="*/ 8389 h 2360934"/>
                  <a:gd name="connsiteX22" fmla="*/ 9596531 w 9613309"/>
                  <a:gd name="connsiteY22" fmla="*/ 8389 h 2360934"/>
                  <a:gd name="connsiteX23" fmla="*/ 9596531 w 9613309"/>
                  <a:gd name="connsiteY23" fmla="*/ 8389 h 2360934"/>
                  <a:gd name="connsiteX24" fmla="*/ 9613309 w 9613309"/>
                  <a:gd name="connsiteY24" fmla="*/ 0 h 2360934"/>
                  <a:gd name="connsiteX0" fmla="*/ 0 w 9613309"/>
                  <a:gd name="connsiteY0" fmla="*/ 889834 h 2322602"/>
                  <a:gd name="connsiteX1" fmla="*/ 404653 w 9613309"/>
                  <a:gd name="connsiteY1" fmla="*/ 905350 h 2322602"/>
                  <a:gd name="connsiteX2" fmla="*/ 954791 w 9613309"/>
                  <a:gd name="connsiteY2" fmla="*/ 883942 h 2322602"/>
                  <a:gd name="connsiteX3" fmla="*/ 1307567 w 9613309"/>
                  <a:gd name="connsiteY3" fmla="*/ 855398 h 2322602"/>
                  <a:gd name="connsiteX4" fmla="*/ 1722173 w 9613309"/>
                  <a:gd name="connsiteY4" fmla="*/ 819718 h 2322602"/>
                  <a:gd name="connsiteX5" fmla="*/ 2105311 w 9613309"/>
                  <a:gd name="connsiteY5" fmla="*/ 762626 h 2322602"/>
                  <a:gd name="connsiteX6" fmla="*/ 2724467 w 9613309"/>
                  <a:gd name="connsiteY6" fmla="*/ 691266 h 2322602"/>
                  <a:gd name="connsiteX7" fmla="*/ 3887470 w 9613309"/>
                  <a:gd name="connsiteY7" fmla="*/ 455772 h 2322602"/>
                  <a:gd name="connsiteX8" fmla="*/ 4461224 w 9613309"/>
                  <a:gd name="connsiteY8" fmla="*/ 355866 h 2322602"/>
                  <a:gd name="connsiteX9" fmla="*/ 5058417 w 9613309"/>
                  <a:gd name="connsiteY9" fmla="*/ 291641 h 2322602"/>
                  <a:gd name="connsiteX10" fmla="*/ 5504757 w 9613309"/>
                  <a:gd name="connsiteY10" fmla="*/ 350296 h 2322602"/>
                  <a:gd name="connsiteX11" fmla="*/ 5898724 w 9613309"/>
                  <a:gd name="connsiteY11" fmla="*/ 541406 h 2322602"/>
                  <a:gd name="connsiteX12" fmla="*/ 6123231 w 9613309"/>
                  <a:gd name="connsiteY12" fmla="*/ 784035 h 2322602"/>
                  <a:gd name="connsiteX13" fmla="*/ 6395770 w 9613309"/>
                  <a:gd name="connsiteY13" fmla="*/ 1506365 h 2322602"/>
                  <a:gd name="connsiteX14" fmla="*/ 7086397 w 9613309"/>
                  <a:gd name="connsiteY14" fmla="*/ 2196994 h 2322602"/>
                  <a:gd name="connsiteX15" fmla="*/ 7405194 w 9613309"/>
                  <a:gd name="connsiteY15" fmla="*/ 2311171 h 2322602"/>
                  <a:gd name="connsiteX16" fmla="*/ 7660627 w 9613309"/>
                  <a:gd name="connsiteY16" fmla="*/ 2273908 h 2322602"/>
                  <a:gd name="connsiteX17" fmla="*/ 7952422 w 9613309"/>
                  <a:gd name="connsiteY17" fmla="*/ 2089951 h 2322602"/>
                  <a:gd name="connsiteX18" fmla="*/ 8184231 w 9613309"/>
                  <a:gd name="connsiteY18" fmla="*/ 1947226 h 2322602"/>
                  <a:gd name="connsiteX19" fmla="*/ 8411758 w 9613309"/>
                  <a:gd name="connsiteY19" fmla="*/ 1640375 h 2322602"/>
                  <a:gd name="connsiteX20" fmla="*/ 9302788 w 9613309"/>
                  <a:gd name="connsiteY20" fmla="*/ 213143 h 2322602"/>
                  <a:gd name="connsiteX21" fmla="*/ 9596531 w 9613309"/>
                  <a:gd name="connsiteY21" fmla="*/ 8389 h 2322602"/>
                  <a:gd name="connsiteX22" fmla="*/ 9596531 w 9613309"/>
                  <a:gd name="connsiteY22" fmla="*/ 8389 h 2322602"/>
                  <a:gd name="connsiteX23" fmla="*/ 9596531 w 9613309"/>
                  <a:gd name="connsiteY23" fmla="*/ 8389 h 2322602"/>
                  <a:gd name="connsiteX24" fmla="*/ 9613309 w 9613309"/>
                  <a:gd name="connsiteY24" fmla="*/ 0 h 2322602"/>
                  <a:gd name="connsiteX0" fmla="*/ 0 w 9613309"/>
                  <a:gd name="connsiteY0" fmla="*/ 889834 h 2321826"/>
                  <a:gd name="connsiteX1" fmla="*/ 404653 w 9613309"/>
                  <a:gd name="connsiteY1" fmla="*/ 905350 h 2321826"/>
                  <a:gd name="connsiteX2" fmla="*/ 954791 w 9613309"/>
                  <a:gd name="connsiteY2" fmla="*/ 883942 h 2321826"/>
                  <a:gd name="connsiteX3" fmla="*/ 1307567 w 9613309"/>
                  <a:gd name="connsiteY3" fmla="*/ 855398 h 2321826"/>
                  <a:gd name="connsiteX4" fmla="*/ 1722173 w 9613309"/>
                  <a:gd name="connsiteY4" fmla="*/ 819718 h 2321826"/>
                  <a:gd name="connsiteX5" fmla="*/ 2105311 w 9613309"/>
                  <a:gd name="connsiteY5" fmla="*/ 762626 h 2321826"/>
                  <a:gd name="connsiteX6" fmla="*/ 2724467 w 9613309"/>
                  <a:gd name="connsiteY6" fmla="*/ 691266 h 2321826"/>
                  <a:gd name="connsiteX7" fmla="*/ 3887470 w 9613309"/>
                  <a:gd name="connsiteY7" fmla="*/ 455772 h 2321826"/>
                  <a:gd name="connsiteX8" fmla="*/ 4461224 w 9613309"/>
                  <a:gd name="connsiteY8" fmla="*/ 355866 h 2321826"/>
                  <a:gd name="connsiteX9" fmla="*/ 5058417 w 9613309"/>
                  <a:gd name="connsiteY9" fmla="*/ 291641 h 2321826"/>
                  <a:gd name="connsiteX10" fmla="*/ 5504757 w 9613309"/>
                  <a:gd name="connsiteY10" fmla="*/ 350296 h 2321826"/>
                  <a:gd name="connsiteX11" fmla="*/ 5898724 w 9613309"/>
                  <a:gd name="connsiteY11" fmla="*/ 541406 h 2321826"/>
                  <a:gd name="connsiteX12" fmla="*/ 6123231 w 9613309"/>
                  <a:gd name="connsiteY12" fmla="*/ 784035 h 2321826"/>
                  <a:gd name="connsiteX13" fmla="*/ 6395770 w 9613309"/>
                  <a:gd name="connsiteY13" fmla="*/ 1506365 h 2321826"/>
                  <a:gd name="connsiteX14" fmla="*/ 7086397 w 9613309"/>
                  <a:gd name="connsiteY14" fmla="*/ 2196994 h 2321826"/>
                  <a:gd name="connsiteX15" fmla="*/ 7405194 w 9613309"/>
                  <a:gd name="connsiteY15" fmla="*/ 2311171 h 2321826"/>
                  <a:gd name="connsiteX16" fmla="*/ 7660627 w 9613309"/>
                  <a:gd name="connsiteY16" fmla="*/ 2273908 h 2321826"/>
                  <a:gd name="connsiteX17" fmla="*/ 7952422 w 9613309"/>
                  <a:gd name="connsiteY17" fmla="*/ 2118495 h 2321826"/>
                  <a:gd name="connsiteX18" fmla="*/ 8184231 w 9613309"/>
                  <a:gd name="connsiteY18" fmla="*/ 1947226 h 2321826"/>
                  <a:gd name="connsiteX19" fmla="*/ 8411758 w 9613309"/>
                  <a:gd name="connsiteY19" fmla="*/ 1640375 h 2321826"/>
                  <a:gd name="connsiteX20" fmla="*/ 9302788 w 9613309"/>
                  <a:gd name="connsiteY20" fmla="*/ 213143 h 2321826"/>
                  <a:gd name="connsiteX21" fmla="*/ 9596531 w 9613309"/>
                  <a:gd name="connsiteY21" fmla="*/ 8389 h 2321826"/>
                  <a:gd name="connsiteX22" fmla="*/ 9596531 w 9613309"/>
                  <a:gd name="connsiteY22" fmla="*/ 8389 h 2321826"/>
                  <a:gd name="connsiteX23" fmla="*/ 9596531 w 9613309"/>
                  <a:gd name="connsiteY23" fmla="*/ 8389 h 2321826"/>
                  <a:gd name="connsiteX24" fmla="*/ 9613309 w 9613309"/>
                  <a:gd name="connsiteY24" fmla="*/ 0 h 2321826"/>
                  <a:gd name="connsiteX0" fmla="*/ 0 w 9613309"/>
                  <a:gd name="connsiteY0" fmla="*/ 889834 h 2311174"/>
                  <a:gd name="connsiteX1" fmla="*/ 404653 w 9613309"/>
                  <a:gd name="connsiteY1" fmla="*/ 905350 h 2311174"/>
                  <a:gd name="connsiteX2" fmla="*/ 954791 w 9613309"/>
                  <a:gd name="connsiteY2" fmla="*/ 883942 h 2311174"/>
                  <a:gd name="connsiteX3" fmla="*/ 1307567 w 9613309"/>
                  <a:gd name="connsiteY3" fmla="*/ 855398 h 2311174"/>
                  <a:gd name="connsiteX4" fmla="*/ 1722173 w 9613309"/>
                  <a:gd name="connsiteY4" fmla="*/ 819718 h 2311174"/>
                  <a:gd name="connsiteX5" fmla="*/ 2105311 w 9613309"/>
                  <a:gd name="connsiteY5" fmla="*/ 762626 h 2311174"/>
                  <a:gd name="connsiteX6" fmla="*/ 2724467 w 9613309"/>
                  <a:gd name="connsiteY6" fmla="*/ 691266 h 2311174"/>
                  <a:gd name="connsiteX7" fmla="*/ 3887470 w 9613309"/>
                  <a:gd name="connsiteY7" fmla="*/ 455772 h 2311174"/>
                  <a:gd name="connsiteX8" fmla="*/ 4461224 w 9613309"/>
                  <a:gd name="connsiteY8" fmla="*/ 355866 h 2311174"/>
                  <a:gd name="connsiteX9" fmla="*/ 5058417 w 9613309"/>
                  <a:gd name="connsiteY9" fmla="*/ 291641 h 2311174"/>
                  <a:gd name="connsiteX10" fmla="*/ 5504757 w 9613309"/>
                  <a:gd name="connsiteY10" fmla="*/ 350296 h 2311174"/>
                  <a:gd name="connsiteX11" fmla="*/ 5898724 w 9613309"/>
                  <a:gd name="connsiteY11" fmla="*/ 541406 h 2311174"/>
                  <a:gd name="connsiteX12" fmla="*/ 6123231 w 9613309"/>
                  <a:gd name="connsiteY12" fmla="*/ 784035 h 2311174"/>
                  <a:gd name="connsiteX13" fmla="*/ 6395770 w 9613309"/>
                  <a:gd name="connsiteY13" fmla="*/ 1506365 h 2311174"/>
                  <a:gd name="connsiteX14" fmla="*/ 7086397 w 9613309"/>
                  <a:gd name="connsiteY14" fmla="*/ 2196994 h 2311174"/>
                  <a:gd name="connsiteX15" fmla="*/ 7217358 w 9613309"/>
                  <a:gd name="connsiteY15" fmla="*/ 2275490 h 2311174"/>
                  <a:gd name="connsiteX16" fmla="*/ 7405194 w 9613309"/>
                  <a:gd name="connsiteY16" fmla="*/ 2311171 h 2311174"/>
                  <a:gd name="connsiteX17" fmla="*/ 7660627 w 9613309"/>
                  <a:gd name="connsiteY17" fmla="*/ 2273908 h 2311174"/>
                  <a:gd name="connsiteX18" fmla="*/ 7952422 w 9613309"/>
                  <a:gd name="connsiteY18" fmla="*/ 2118495 h 2311174"/>
                  <a:gd name="connsiteX19" fmla="*/ 8184231 w 9613309"/>
                  <a:gd name="connsiteY19" fmla="*/ 1947226 h 2311174"/>
                  <a:gd name="connsiteX20" fmla="*/ 8411758 w 9613309"/>
                  <a:gd name="connsiteY20" fmla="*/ 1640375 h 2311174"/>
                  <a:gd name="connsiteX21" fmla="*/ 9302788 w 9613309"/>
                  <a:gd name="connsiteY21" fmla="*/ 213143 h 2311174"/>
                  <a:gd name="connsiteX22" fmla="*/ 9596531 w 9613309"/>
                  <a:gd name="connsiteY22" fmla="*/ 8389 h 2311174"/>
                  <a:gd name="connsiteX23" fmla="*/ 9596531 w 9613309"/>
                  <a:gd name="connsiteY23" fmla="*/ 8389 h 2311174"/>
                  <a:gd name="connsiteX24" fmla="*/ 9596531 w 9613309"/>
                  <a:gd name="connsiteY24" fmla="*/ 8389 h 2311174"/>
                  <a:gd name="connsiteX25" fmla="*/ 9613309 w 9613309"/>
                  <a:gd name="connsiteY25" fmla="*/ 0 h 2311174"/>
                  <a:gd name="connsiteX0" fmla="*/ 0 w 9613309"/>
                  <a:gd name="connsiteY0" fmla="*/ 889834 h 2311174"/>
                  <a:gd name="connsiteX1" fmla="*/ 404653 w 9613309"/>
                  <a:gd name="connsiteY1" fmla="*/ 905350 h 2311174"/>
                  <a:gd name="connsiteX2" fmla="*/ 954791 w 9613309"/>
                  <a:gd name="connsiteY2" fmla="*/ 883942 h 2311174"/>
                  <a:gd name="connsiteX3" fmla="*/ 1307567 w 9613309"/>
                  <a:gd name="connsiteY3" fmla="*/ 855398 h 2311174"/>
                  <a:gd name="connsiteX4" fmla="*/ 1722173 w 9613309"/>
                  <a:gd name="connsiteY4" fmla="*/ 819718 h 2311174"/>
                  <a:gd name="connsiteX5" fmla="*/ 2105311 w 9613309"/>
                  <a:gd name="connsiteY5" fmla="*/ 762626 h 2311174"/>
                  <a:gd name="connsiteX6" fmla="*/ 2724467 w 9613309"/>
                  <a:gd name="connsiteY6" fmla="*/ 691266 h 2311174"/>
                  <a:gd name="connsiteX7" fmla="*/ 3887470 w 9613309"/>
                  <a:gd name="connsiteY7" fmla="*/ 455772 h 2311174"/>
                  <a:gd name="connsiteX8" fmla="*/ 4461224 w 9613309"/>
                  <a:gd name="connsiteY8" fmla="*/ 355866 h 2311174"/>
                  <a:gd name="connsiteX9" fmla="*/ 5058417 w 9613309"/>
                  <a:gd name="connsiteY9" fmla="*/ 291641 h 2311174"/>
                  <a:gd name="connsiteX10" fmla="*/ 5504757 w 9613309"/>
                  <a:gd name="connsiteY10" fmla="*/ 350296 h 2311174"/>
                  <a:gd name="connsiteX11" fmla="*/ 5898724 w 9613309"/>
                  <a:gd name="connsiteY11" fmla="*/ 541406 h 2311174"/>
                  <a:gd name="connsiteX12" fmla="*/ 6123231 w 9613309"/>
                  <a:gd name="connsiteY12" fmla="*/ 784035 h 2311174"/>
                  <a:gd name="connsiteX13" fmla="*/ 6395770 w 9613309"/>
                  <a:gd name="connsiteY13" fmla="*/ 1506365 h 2311174"/>
                  <a:gd name="connsiteX14" fmla="*/ 6830135 w 9613309"/>
                  <a:gd name="connsiteY14" fmla="*/ 2018588 h 2311174"/>
                  <a:gd name="connsiteX15" fmla="*/ 7086397 w 9613309"/>
                  <a:gd name="connsiteY15" fmla="*/ 2196994 h 2311174"/>
                  <a:gd name="connsiteX16" fmla="*/ 7217358 w 9613309"/>
                  <a:gd name="connsiteY16" fmla="*/ 2275490 h 2311174"/>
                  <a:gd name="connsiteX17" fmla="*/ 7405194 w 9613309"/>
                  <a:gd name="connsiteY17" fmla="*/ 2311171 h 2311174"/>
                  <a:gd name="connsiteX18" fmla="*/ 7660627 w 9613309"/>
                  <a:gd name="connsiteY18" fmla="*/ 2273908 h 2311174"/>
                  <a:gd name="connsiteX19" fmla="*/ 7952422 w 9613309"/>
                  <a:gd name="connsiteY19" fmla="*/ 2118495 h 2311174"/>
                  <a:gd name="connsiteX20" fmla="*/ 8184231 w 9613309"/>
                  <a:gd name="connsiteY20" fmla="*/ 1947226 h 2311174"/>
                  <a:gd name="connsiteX21" fmla="*/ 8411758 w 9613309"/>
                  <a:gd name="connsiteY21" fmla="*/ 1640375 h 2311174"/>
                  <a:gd name="connsiteX22" fmla="*/ 9302788 w 9613309"/>
                  <a:gd name="connsiteY22" fmla="*/ 213143 h 2311174"/>
                  <a:gd name="connsiteX23" fmla="*/ 9596531 w 9613309"/>
                  <a:gd name="connsiteY23" fmla="*/ 8389 h 2311174"/>
                  <a:gd name="connsiteX24" fmla="*/ 9596531 w 9613309"/>
                  <a:gd name="connsiteY24" fmla="*/ 8389 h 2311174"/>
                  <a:gd name="connsiteX25" fmla="*/ 9596531 w 9613309"/>
                  <a:gd name="connsiteY25" fmla="*/ 8389 h 2311174"/>
                  <a:gd name="connsiteX26" fmla="*/ 9613309 w 9613309"/>
                  <a:gd name="connsiteY26" fmla="*/ 0 h 23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613309" h="2311174">
                    <a:moveTo>
                      <a:pt x="0" y="889834"/>
                    </a:moveTo>
                    <a:cubicBezTo>
                      <a:pt x="67442" y="887663"/>
                      <a:pt x="245521" y="906332"/>
                      <a:pt x="404653" y="905350"/>
                    </a:cubicBezTo>
                    <a:cubicBezTo>
                      <a:pt x="563785" y="904368"/>
                      <a:pt x="804305" y="887510"/>
                      <a:pt x="954791" y="883942"/>
                    </a:cubicBezTo>
                    <a:lnTo>
                      <a:pt x="1307567" y="855398"/>
                    </a:lnTo>
                    <a:cubicBezTo>
                      <a:pt x="1641280" y="840144"/>
                      <a:pt x="1653869" y="828044"/>
                      <a:pt x="1722173" y="819718"/>
                    </a:cubicBezTo>
                    <a:cubicBezTo>
                      <a:pt x="1790477" y="811392"/>
                      <a:pt x="1956013" y="788792"/>
                      <a:pt x="2105311" y="762626"/>
                    </a:cubicBezTo>
                    <a:lnTo>
                      <a:pt x="2724467" y="691266"/>
                    </a:lnTo>
                    <a:lnTo>
                      <a:pt x="3887470" y="455772"/>
                    </a:lnTo>
                    <a:cubicBezTo>
                      <a:pt x="4269973" y="390357"/>
                      <a:pt x="4262166" y="379653"/>
                      <a:pt x="4461224" y="355866"/>
                    </a:cubicBezTo>
                    <a:cubicBezTo>
                      <a:pt x="4660282" y="332079"/>
                      <a:pt x="4880396" y="302084"/>
                      <a:pt x="5058417" y="291641"/>
                    </a:cubicBezTo>
                    <a:cubicBezTo>
                      <a:pt x="5236438" y="281198"/>
                      <a:pt x="5364706" y="308669"/>
                      <a:pt x="5504757" y="350296"/>
                    </a:cubicBezTo>
                    <a:cubicBezTo>
                      <a:pt x="5644808" y="391923"/>
                      <a:pt x="5796962" y="457223"/>
                      <a:pt x="5898724" y="541406"/>
                    </a:cubicBezTo>
                    <a:cubicBezTo>
                      <a:pt x="6000486" y="625590"/>
                      <a:pt x="6024256" y="624398"/>
                      <a:pt x="6123231" y="784035"/>
                    </a:cubicBezTo>
                    <a:cubicBezTo>
                      <a:pt x="6222206" y="943672"/>
                      <a:pt x="6267869" y="1301796"/>
                      <a:pt x="6395770" y="1506365"/>
                    </a:cubicBezTo>
                    <a:cubicBezTo>
                      <a:pt x="6523671" y="1710934"/>
                      <a:pt x="6715031" y="1903483"/>
                      <a:pt x="6830135" y="2018588"/>
                    </a:cubicBezTo>
                    <a:cubicBezTo>
                      <a:pt x="6945240" y="2133693"/>
                      <a:pt x="7031944" y="2152988"/>
                      <a:pt x="7086397" y="2196994"/>
                    </a:cubicBezTo>
                    <a:cubicBezTo>
                      <a:pt x="7140850" y="2241000"/>
                      <a:pt x="7164225" y="2256461"/>
                      <a:pt x="7217358" y="2275490"/>
                    </a:cubicBezTo>
                    <a:cubicBezTo>
                      <a:pt x="7270491" y="2294520"/>
                      <a:pt x="7331316" y="2311435"/>
                      <a:pt x="7405194" y="2311171"/>
                    </a:cubicBezTo>
                    <a:cubicBezTo>
                      <a:pt x="7479072" y="2310907"/>
                      <a:pt x="7569422" y="2306021"/>
                      <a:pt x="7660627" y="2273908"/>
                    </a:cubicBezTo>
                    <a:cubicBezTo>
                      <a:pt x="7751832" y="2241795"/>
                      <a:pt x="7871205" y="2181267"/>
                      <a:pt x="7952422" y="2118495"/>
                    </a:cubicBezTo>
                    <a:cubicBezTo>
                      <a:pt x="8033639" y="2055723"/>
                      <a:pt x="8095774" y="2034049"/>
                      <a:pt x="8184231" y="1947226"/>
                    </a:cubicBezTo>
                    <a:cubicBezTo>
                      <a:pt x="8272688" y="1860403"/>
                      <a:pt x="8210498" y="1935336"/>
                      <a:pt x="8411758" y="1640375"/>
                    </a:cubicBezTo>
                    <a:cubicBezTo>
                      <a:pt x="8613018" y="1345414"/>
                      <a:pt x="9129527" y="489898"/>
                      <a:pt x="9302788" y="213143"/>
                    </a:cubicBezTo>
                    <a:cubicBezTo>
                      <a:pt x="9476049" y="-63612"/>
                      <a:pt x="9572491" y="43704"/>
                      <a:pt x="9596531" y="8389"/>
                    </a:cubicBezTo>
                    <a:lnTo>
                      <a:pt x="9596531" y="8389"/>
                    </a:lnTo>
                    <a:lnTo>
                      <a:pt x="9596531" y="8389"/>
                    </a:lnTo>
                    <a:lnTo>
                      <a:pt x="9613309"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grpSp>
      </p:grpSp>
    </p:spTree>
    <p:extLst>
      <p:ext uri="{BB962C8B-B14F-4D97-AF65-F5344CB8AC3E}">
        <p14:creationId xmlns:p14="http://schemas.microsoft.com/office/powerpoint/2010/main" val="507680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DAFA8CEB-D23E-44C4-3703-95ED976DC12C}"/>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ChatGPT and Generative AI in Legal, Corporate &amp; Tax Markets,” </a:t>
            </a:r>
            <a:r>
              <a:rPr lang="en-IN" sz="800" i="1" dirty="0">
                <a:solidFill>
                  <a:schemeClr val="bg1"/>
                </a:solidFill>
              </a:rPr>
              <a:t>Thomson Reuters, 2023.</a:t>
            </a:r>
          </a:p>
        </p:txBody>
      </p:sp>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284316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28" imgH="328" progId="TCLayout.ActiveDocument.1">
                  <p:embed/>
                </p:oleObj>
              </mc:Choice>
              <mc:Fallback>
                <p:oleObj name="think-cell Slide" r:id="rId14"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p:txBody>
          <a:bodyPr anchor="t" anchorCtr="0"/>
          <a:lstStyle/>
          <a:p>
            <a:r>
              <a:rPr lang="en-GB" noProof="0" dirty="0">
                <a:solidFill>
                  <a:schemeClr val="tx2"/>
                </a:solidFill>
              </a:rPr>
              <a:t>What AI is good at </a:t>
            </a:r>
            <a:r>
              <a:rPr lang="en-GB" noProof="0" dirty="0"/>
              <a:t>can help us understand how it can be used in legal</a:t>
            </a:r>
            <a:endParaRPr lang="en-GB" dirty="0"/>
          </a:p>
        </p:txBody>
      </p:sp>
      <p:sp>
        <p:nvSpPr>
          <p:cNvPr id="8" name="TextBox 71">
            <a:extLst>
              <a:ext uri="{FF2B5EF4-FFF2-40B4-BE49-F238E27FC236}">
                <a16:creationId xmlns:a16="http://schemas.microsoft.com/office/drawing/2014/main" id="{E75A3C02-D80F-BD37-9D88-2D703DD82CC7}"/>
              </a:ext>
            </a:extLst>
          </p:cNvPr>
          <p:cNvSpPr txBox="1"/>
          <p:nvPr/>
        </p:nvSpPr>
        <p:spPr>
          <a:xfrm>
            <a:off x="1774371" y="1860022"/>
            <a:ext cx="4003316" cy="1166726"/>
          </a:xfrm>
          <a:prstGeom prst="rect">
            <a:avLst/>
          </a:prstGeom>
          <a:noFill/>
          <a:ln>
            <a:solidFill>
              <a:schemeClr val="bg1"/>
            </a:solidFill>
          </a:ln>
        </p:spPr>
        <p:txBody>
          <a:bodyPr wrap="squar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44600" rtl="0" eaLnBrk="1" fontAlgn="auto" latinLnBrk="0" hangingPunct="1">
              <a:lnSpc>
                <a:spcPct val="100000"/>
              </a:lnSpc>
              <a:spcAft>
                <a:spcPts val="600"/>
              </a:spcAft>
              <a:buClrTx/>
              <a:buSzTx/>
              <a:buFontTx/>
              <a:buNone/>
              <a:tabLst/>
              <a:defRPr/>
            </a:pPr>
            <a:r>
              <a:rPr kumimoji="0" lang="en-GB" sz="1600" b="1" i="0" u="none" strike="noStrike" kern="1200" cap="none" normalizeH="0" baseline="0" noProof="0" dirty="0">
                <a:ln>
                  <a:noFill/>
                </a:ln>
                <a:solidFill>
                  <a:schemeClr val="tx2"/>
                </a:solidFill>
                <a:effectLst/>
                <a:uLnTx/>
                <a:uFillTx/>
              </a:rPr>
              <a:t>Analyzing large data sets</a:t>
            </a:r>
          </a:p>
          <a:p>
            <a:pPr defTabSz="1244600">
              <a:spcAft>
                <a:spcPts val="600"/>
              </a:spcAft>
              <a:defRPr/>
            </a:pPr>
            <a:r>
              <a:rPr lang="en-GB" sz="1600" dirty="0">
                <a:solidFill>
                  <a:schemeClr val="bg1"/>
                </a:solidFill>
              </a:rPr>
              <a:t>Ideally structured data,…but we are getting better at unstructured.</a:t>
            </a:r>
          </a:p>
        </p:txBody>
      </p:sp>
      <p:sp>
        <p:nvSpPr>
          <p:cNvPr id="43" name="TextBox 71">
            <a:extLst>
              <a:ext uri="{FF2B5EF4-FFF2-40B4-BE49-F238E27FC236}">
                <a16:creationId xmlns:a16="http://schemas.microsoft.com/office/drawing/2014/main" id="{92356643-0F01-AED5-AB84-ED5A71A2BAA5}"/>
              </a:ext>
            </a:extLst>
          </p:cNvPr>
          <p:cNvSpPr txBox="1"/>
          <p:nvPr/>
        </p:nvSpPr>
        <p:spPr>
          <a:xfrm>
            <a:off x="1774371" y="3241272"/>
            <a:ext cx="4003316" cy="1166726"/>
          </a:xfrm>
          <a:prstGeom prst="rect">
            <a:avLst/>
          </a:prstGeom>
          <a:noFill/>
          <a:ln>
            <a:solidFill>
              <a:schemeClr val="bg1"/>
            </a:solidFill>
          </a:ln>
        </p:spPr>
        <p:txBody>
          <a:bodyPr wrap="squar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44600" rtl="0" eaLnBrk="1" fontAlgn="auto" latinLnBrk="0" hangingPunct="1">
              <a:lnSpc>
                <a:spcPct val="100000"/>
              </a:lnSpc>
              <a:spcAft>
                <a:spcPts val="600"/>
              </a:spcAft>
              <a:buClrTx/>
              <a:buSzTx/>
              <a:buFontTx/>
              <a:buNone/>
              <a:tabLst/>
              <a:defRPr/>
            </a:pPr>
            <a:r>
              <a:rPr lang="en-US" sz="1600" b="1" dirty="0">
                <a:solidFill>
                  <a:schemeClr val="tx2"/>
                </a:solidFill>
              </a:rPr>
              <a:t>Identifying related items</a:t>
            </a:r>
            <a:endParaRPr kumimoji="0" lang="en-US" sz="1600" b="1" i="0" u="none" strike="noStrike" kern="1200" cap="none" normalizeH="0" baseline="0" noProof="0" dirty="0">
              <a:ln>
                <a:noFill/>
              </a:ln>
              <a:solidFill>
                <a:schemeClr val="tx2"/>
              </a:solidFill>
              <a:effectLst/>
              <a:uLnTx/>
              <a:uFillTx/>
            </a:endParaRPr>
          </a:p>
          <a:p>
            <a:pPr defTabSz="1244600">
              <a:spcAft>
                <a:spcPts val="600"/>
              </a:spcAft>
              <a:defRPr/>
            </a:pPr>
            <a:r>
              <a:rPr lang="en-GB" sz="1600" dirty="0">
                <a:solidFill>
                  <a:schemeClr val="bg1"/>
                </a:solidFill>
              </a:rPr>
              <a:t>Understanding </a:t>
            </a:r>
            <a:r>
              <a:rPr lang="en-GB" sz="1600" b="1" dirty="0">
                <a:solidFill>
                  <a:schemeClr val="bg1"/>
                </a:solidFill>
              </a:rPr>
              <a:t>how things are related </a:t>
            </a:r>
            <a:r>
              <a:rPr lang="en-GB" sz="1600" dirty="0">
                <a:solidFill>
                  <a:schemeClr val="bg1"/>
                </a:solidFill>
              </a:rPr>
              <a:t>is a bit tricker.</a:t>
            </a:r>
          </a:p>
        </p:txBody>
      </p:sp>
      <p:sp>
        <p:nvSpPr>
          <p:cNvPr id="73" name="TextBox 71">
            <a:extLst>
              <a:ext uri="{FF2B5EF4-FFF2-40B4-BE49-F238E27FC236}">
                <a16:creationId xmlns:a16="http://schemas.microsoft.com/office/drawing/2014/main" id="{3B53C9C3-B11D-7BBA-1394-DE8ACCEFFC44}"/>
              </a:ext>
            </a:extLst>
          </p:cNvPr>
          <p:cNvSpPr txBox="1"/>
          <p:nvPr/>
        </p:nvSpPr>
        <p:spPr>
          <a:xfrm>
            <a:off x="1774371" y="4618055"/>
            <a:ext cx="4003316" cy="1166726"/>
          </a:xfrm>
          <a:prstGeom prst="rect">
            <a:avLst/>
          </a:prstGeom>
          <a:noFill/>
          <a:ln>
            <a:solidFill>
              <a:schemeClr val="bg1"/>
            </a:solidFill>
          </a:ln>
        </p:spPr>
        <p:txBody>
          <a:bodyPr wrap="squar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244600" rtl="0" eaLnBrk="1" fontAlgn="auto" latinLnBrk="0" hangingPunct="1">
              <a:lnSpc>
                <a:spcPct val="100000"/>
              </a:lnSpc>
              <a:spcAft>
                <a:spcPts val="600"/>
              </a:spcAft>
              <a:buClrTx/>
              <a:buSzTx/>
              <a:buFontTx/>
              <a:buNone/>
              <a:tabLst/>
              <a:defRPr/>
            </a:pPr>
            <a:r>
              <a:rPr lang="en-US" sz="1600" b="1" dirty="0">
                <a:solidFill>
                  <a:schemeClr val="tx2"/>
                </a:solidFill>
              </a:rPr>
              <a:t>Generating content</a:t>
            </a:r>
            <a:endParaRPr kumimoji="0" lang="en-US" sz="1600" b="1" i="0" u="none" strike="noStrike" kern="1200" cap="none" normalizeH="0" baseline="0" noProof="0" dirty="0">
              <a:ln>
                <a:noFill/>
              </a:ln>
              <a:solidFill>
                <a:schemeClr val="tx2"/>
              </a:solidFill>
              <a:effectLst/>
              <a:uLnTx/>
              <a:uFillTx/>
            </a:endParaRPr>
          </a:p>
          <a:p>
            <a:pPr defTabSz="1244600">
              <a:spcAft>
                <a:spcPts val="600"/>
              </a:spcAft>
              <a:defRPr/>
            </a:pPr>
            <a:r>
              <a:rPr lang="en-GB" sz="1600" dirty="0">
                <a:solidFill>
                  <a:schemeClr val="bg1"/>
                </a:solidFill>
              </a:rPr>
              <a:t>The tools are still learning how to create content — watch this space.</a:t>
            </a:r>
          </a:p>
        </p:txBody>
      </p:sp>
      <p:graphicFrame>
        <p:nvGraphicFramePr>
          <p:cNvPr id="141" name="Chart 140">
            <a:extLst>
              <a:ext uri="{FF2B5EF4-FFF2-40B4-BE49-F238E27FC236}">
                <a16:creationId xmlns:a16="http://schemas.microsoft.com/office/drawing/2014/main" id="{1B6DD95A-BE81-787D-38F8-31E495EDBCFD}"/>
              </a:ext>
            </a:extLst>
          </p:cNvPr>
          <p:cNvGraphicFramePr/>
          <p:nvPr>
            <p:custDataLst>
              <p:tags r:id="rId2"/>
            </p:custDataLst>
            <p:extLst>
              <p:ext uri="{D42A27DB-BD31-4B8C-83A1-F6EECF244321}">
                <p14:modId xmlns:p14="http://schemas.microsoft.com/office/powerpoint/2010/main" val="2112365600"/>
              </p:ext>
            </p:extLst>
          </p:nvPr>
        </p:nvGraphicFramePr>
        <p:xfrm>
          <a:off x="8316226" y="1667934"/>
          <a:ext cx="3070911" cy="4224866"/>
        </p:xfrm>
        <a:graphic>
          <a:graphicData uri="http://schemas.openxmlformats.org/drawingml/2006/chart">
            <c:chart xmlns:c="http://schemas.openxmlformats.org/drawingml/2006/chart" xmlns:r="http://schemas.openxmlformats.org/officeDocument/2006/relationships" r:id="rId16"/>
          </a:graphicData>
        </a:graphic>
      </p:graphicFrame>
      <p:sp>
        <p:nvSpPr>
          <p:cNvPr id="6" name="Rectangle 5">
            <a:extLst>
              <a:ext uri="{FF2B5EF4-FFF2-40B4-BE49-F238E27FC236}">
                <a16:creationId xmlns:a16="http://schemas.microsoft.com/office/drawing/2014/main" id="{45157681-C0F3-AF44-9691-9A22B5EE34C4}"/>
              </a:ext>
            </a:extLst>
          </p:cNvPr>
          <p:cNvSpPr/>
          <p:nvPr>
            <p:custDataLst>
              <p:tags r:id="rId3"/>
            </p:custDataLst>
          </p:nvPr>
        </p:nvSpPr>
        <p:spPr bwMode="auto">
          <a:xfrm>
            <a:off x="6369051" y="1990721"/>
            <a:ext cx="197485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A7D955DD-6709-48A3-94AF-48A8AF4AED55}" type="datetime'K''''no''wl''''ed''''ge'' ''''''ma''n''''''ag''''e''ment'''">
              <a:rPr lang="en-GB" altLang="en-US" sz="1200" smtClean="0">
                <a:solidFill>
                  <a:schemeClr val="bg1"/>
                </a:solidFill>
              </a:rPr>
              <a:pPr>
                <a:spcBef>
                  <a:spcPct val="0"/>
                </a:spcBef>
                <a:spcAft>
                  <a:spcPct val="0"/>
                </a:spcAft>
              </a:pPr>
              <a:t>Knowledge management</a:t>
            </a:fld>
            <a:endParaRPr lang="en-GB" sz="1200" dirty="0">
              <a:solidFill>
                <a:schemeClr val="bg1"/>
              </a:solidFill>
            </a:endParaRPr>
          </a:p>
        </p:txBody>
      </p:sp>
      <p:sp>
        <p:nvSpPr>
          <p:cNvPr id="9" name="Rectangle 8">
            <a:extLst>
              <a:ext uri="{FF2B5EF4-FFF2-40B4-BE49-F238E27FC236}">
                <a16:creationId xmlns:a16="http://schemas.microsoft.com/office/drawing/2014/main" id="{65FC4894-8997-5B45-ED24-F3E662B5186F}"/>
              </a:ext>
            </a:extLst>
          </p:cNvPr>
          <p:cNvSpPr/>
          <p:nvPr>
            <p:custDataLst>
              <p:tags r:id="rId4"/>
            </p:custDataLst>
          </p:nvPr>
        </p:nvSpPr>
        <p:spPr bwMode="auto">
          <a:xfrm>
            <a:off x="6369051" y="2664616"/>
            <a:ext cx="166687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dirty="0">
                <a:solidFill>
                  <a:schemeClr val="bg1"/>
                </a:solidFill>
              </a:rPr>
              <a:t>Back-office functions</a:t>
            </a:r>
            <a:endParaRPr lang="en-GB" sz="1200" dirty="0">
              <a:solidFill>
                <a:schemeClr val="bg1"/>
              </a:solidFill>
            </a:endParaRPr>
          </a:p>
        </p:txBody>
      </p:sp>
      <p:sp>
        <p:nvSpPr>
          <p:cNvPr id="10" name="Rectangle 9">
            <a:extLst>
              <a:ext uri="{FF2B5EF4-FFF2-40B4-BE49-F238E27FC236}">
                <a16:creationId xmlns:a16="http://schemas.microsoft.com/office/drawing/2014/main" id="{79DC4A89-8F3F-88C4-0062-1900C4B4A9D5}"/>
              </a:ext>
            </a:extLst>
          </p:cNvPr>
          <p:cNvSpPr/>
          <p:nvPr>
            <p:custDataLst>
              <p:tags r:id="rId5"/>
            </p:custDataLst>
          </p:nvPr>
        </p:nvSpPr>
        <p:spPr bwMode="auto">
          <a:xfrm>
            <a:off x="6369051" y="4012406"/>
            <a:ext cx="18288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dirty="0">
                <a:solidFill>
                  <a:schemeClr val="bg1"/>
                </a:solidFill>
              </a:rPr>
              <a:t>Brief or memo drafting</a:t>
            </a:r>
            <a:endParaRPr lang="en-GB" sz="1200" dirty="0">
              <a:solidFill>
                <a:schemeClr val="bg1"/>
              </a:solidFill>
            </a:endParaRPr>
          </a:p>
        </p:txBody>
      </p:sp>
      <p:sp>
        <p:nvSpPr>
          <p:cNvPr id="47" name="Rectangle 46">
            <a:extLst>
              <a:ext uri="{FF2B5EF4-FFF2-40B4-BE49-F238E27FC236}">
                <a16:creationId xmlns:a16="http://schemas.microsoft.com/office/drawing/2014/main" id="{B4917ED4-2AE4-A226-6839-8F9A6E64BACB}"/>
              </a:ext>
            </a:extLst>
          </p:cNvPr>
          <p:cNvSpPr/>
          <p:nvPr>
            <p:custDataLst>
              <p:tags r:id="rId6"/>
            </p:custDataLst>
          </p:nvPr>
        </p:nvSpPr>
        <p:spPr bwMode="auto">
          <a:xfrm>
            <a:off x="6369051" y="4686300"/>
            <a:ext cx="218916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dirty="0">
                <a:solidFill>
                  <a:schemeClr val="bg1"/>
                </a:solidFill>
              </a:rPr>
              <a:t>Question answering service</a:t>
            </a:r>
            <a:endParaRPr lang="en-GB" sz="1200" dirty="0">
              <a:solidFill>
                <a:schemeClr val="bg1"/>
              </a:solidFill>
            </a:endParaRPr>
          </a:p>
        </p:txBody>
      </p:sp>
      <p:sp>
        <p:nvSpPr>
          <p:cNvPr id="44" name="Rectangle 43">
            <a:extLst>
              <a:ext uri="{FF2B5EF4-FFF2-40B4-BE49-F238E27FC236}">
                <a16:creationId xmlns:a16="http://schemas.microsoft.com/office/drawing/2014/main" id="{AF9A1DA0-FFAC-66F4-3B65-D2DF5B7CC387}"/>
              </a:ext>
            </a:extLst>
          </p:cNvPr>
          <p:cNvSpPr/>
          <p:nvPr>
            <p:custDataLst>
              <p:tags r:id="rId7"/>
            </p:custDataLst>
          </p:nvPr>
        </p:nvSpPr>
        <p:spPr bwMode="auto">
          <a:xfrm>
            <a:off x="6369051" y="3338511"/>
            <a:ext cx="137636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1289296F-192F-4990-9DA1-4ADE0ED3C5BA}" type="datetime'''''''''C''o''''''''''ntr''''''''ac''t d''''raf''''t''''''ing'">
              <a:rPr lang="en-GB" altLang="en-US" sz="1200" smtClean="0">
                <a:solidFill>
                  <a:schemeClr val="bg1"/>
                </a:solidFill>
              </a:rPr>
              <a:pPr>
                <a:spcBef>
                  <a:spcPct val="0"/>
                </a:spcBef>
                <a:spcAft>
                  <a:spcPct val="0"/>
                </a:spcAft>
              </a:pPr>
              <a:t>Contract drafting</a:t>
            </a:fld>
            <a:endParaRPr lang="en-GB" sz="1200" dirty="0">
              <a:solidFill>
                <a:schemeClr val="bg1"/>
              </a:solidFill>
            </a:endParaRPr>
          </a:p>
        </p:txBody>
      </p:sp>
      <p:sp>
        <p:nvSpPr>
          <p:cNvPr id="74" name="Rectangle 73">
            <a:extLst>
              <a:ext uri="{FF2B5EF4-FFF2-40B4-BE49-F238E27FC236}">
                <a16:creationId xmlns:a16="http://schemas.microsoft.com/office/drawing/2014/main" id="{CD584BFB-4035-8D85-C50B-3E89DF52EE20}"/>
              </a:ext>
            </a:extLst>
          </p:cNvPr>
          <p:cNvSpPr/>
          <p:nvPr>
            <p:custDataLst>
              <p:tags r:id="rId8"/>
            </p:custDataLst>
          </p:nvPr>
        </p:nvSpPr>
        <p:spPr bwMode="auto">
          <a:xfrm>
            <a:off x="6369051" y="5365975"/>
            <a:ext cx="121285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dirty="0">
                <a:solidFill>
                  <a:schemeClr val="bg1"/>
                </a:solidFill>
              </a:rPr>
              <a:t>Legal research</a:t>
            </a:r>
            <a:endParaRPr lang="en-GB" sz="1200" dirty="0">
              <a:solidFill>
                <a:schemeClr val="bg1"/>
              </a:solidFill>
            </a:endParaRPr>
          </a:p>
        </p:txBody>
      </p:sp>
      <p:grpSp>
        <p:nvGrpSpPr>
          <p:cNvPr id="45" name="Group 44">
            <a:extLst>
              <a:ext uri="{FF2B5EF4-FFF2-40B4-BE49-F238E27FC236}">
                <a16:creationId xmlns:a16="http://schemas.microsoft.com/office/drawing/2014/main" id="{FC3A6358-751D-A37D-0E55-E0531F733B01}"/>
              </a:ext>
            </a:extLst>
          </p:cNvPr>
          <p:cNvGrpSpPr/>
          <p:nvPr/>
        </p:nvGrpSpPr>
        <p:grpSpPr>
          <a:xfrm>
            <a:off x="7538404" y="5895767"/>
            <a:ext cx="2873375" cy="212725"/>
            <a:chOff x="7324726" y="5895767"/>
            <a:chExt cx="2873375" cy="212725"/>
          </a:xfrm>
        </p:grpSpPr>
        <p:sp>
          <p:nvSpPr>
            <p:cNvPr id="91" name="Rectangle 90">
              <a:extLst>
                <a:ext uri="{FF2B5EF4-FFF2-40B4-BE49-F238E27FC236}">
                  <a16:creationId xmlns:a16="http://schemas.microsoft.com/office/drawing/2014/main" id="{4B06DB79-3913-5DE3-DB0C-8F306F3381F9}"/>
                </a:ext>
              </a:extLst>
            </p:cNvPr>
            <p:cNvSpPr/>
            <p:nvPr>
              <p:custDataLst>
                <p:tags r:id="rId9"/>
              </p:custDataLst>
            </p:nvPr>
          </p:nvSpPr>
          <p:spPr bwMode="auto">
            <a:xfrm>
              <a:off x="7324726" y="5908467"/>
              <a:ext cx="250825" cy="187325"/>
            </a:xfrm>
            <a:prstGeom prst="rect">
              <a:avLst/>
            </a:prstGeom>
            <a:solidFill>
              <a:srgbClr val="C4C4CD"/>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200" dirty="0">
                <a:solidFill>
                  <a:schemeClr val="tx1"/>
                </a:solidFill>
              </a:endParaRPr>
            </a:p>
          </p:txBody>
        </p:sp>
        <p:sp>
          <p:nvSpPr>
            <p:cNvPr id="95" name="Rectangle 94">
              <a:extLst>
                <a:ext uri="{FF2B5EF4-FFF2-40B4-BE49-F238E27FC236}">
                  <a16:creationId xmlns:a16="http://schemas.microsoft.com/office/drawing/2014/main" id="{89A30DB5-0EB8-62F7-9EED-D38E610F5D5F}"/>
                </a:ext>
              </a:extLst>
            </p:cNvPr>
            <p:cNvSpPr/>
            <p:nvPr>
              <p:custDataLst>
                <p:tags r:id="rId10"/>
              </p:custDataLst>
            </p:nvPr>
          </p:nvSpPr>
          <p:spPr bwMode="auto">
            <a:xfrm>
              <a:off x="9078912" y="5908467"/>
              <a:ext cx="250825" cy="187325"/>
            </a:xfrm>
            <a:prstGeom prst="rect">
              <a:avLst/>
            </a:prstGeom>
            <a:solidFill>
              <a:schemeClr val="tx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200" dirty="0">
                <a:solidFill>
                  <a:schemeClr val="tx1"/>
                </a:solidFill>
              </a:endParaRPr>
            </a:p>
          </p:txBody>
        </p:sp>
        <p:sp>
          <p:nvSpPr>
            <p:cNvPr id="88" name="Rectangle 87">
              <a:extLst>
                <a:ext uri="{FF2B5EF4-FFF2-40B4-BE49-F238E27FC236}">
                  <a16:creationId xmlns:a16="http://schemas.microsoft.com/office/drawing/2014/main" id="{49D40894-4580-71CB-7104-35AC4AF5EDE1}"/>
                </a:ext>
              </a:extLst>
            </p:cNvPr>
            <p:cNvSpPr/>
            <p:nvPr>
              <p:custDataLst>
                <p:tags r:id="rId11"/>
              </p:custDataLst>
            </p:nvPr>
          </p:nvSpPr>
          <p:spPr bwMode="auto">
            <a:xfrm>
              <a:off x="7626350" y="5895767"/>
              <a:ext cx="13589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dirty="0">
                  <a:solidFill>
                    <a:schemeClr val="bg1"/>
                  </a:solidFill>
                </a:rPr>
                <a:t>In-house counsel</a:t>
              </a:r>
              <a:endParaRPr lang="en-GB" sz="1200" dirty="0">
                <a:solidFill>
                  <a:schemeClr val="bg1"/>
                </a:solidFill>
              </a:endParaRPr>
            </a:p>
          </p:txBody>
        </p:sp>
        <p:sp>
          <p:nvSpPr>
            <p:cNvPr id="92" name="Rectangle 91">
              <a:extLst>
                <a:ext uri="{FF2B5EF4-FFF2-40B4-BE49-F238E27FC236}">
                  <a16:creationId xmlns:a16="http://schemas.microsoft.com/office/drawing/2014/main" id="{A3EE478C-D9EA-9AEB-31CF-FE105816D8E2}"/>
                </a:ext>
              </a:extLst>
            </p:cNvPr>
            <p:cNvSpPr/>
            <p:nvPr>
              <p:custDataLst>
                <p:tags r:id="rId12"/>
              </p:custDataLst>
            </p:nvPr>
          </p:nvSpPr>
          <p:spPr bwMode="auto">
            <a:xfrm>
              <a:off x="9380538" y="5895767"/>
              <a:ext cx="81756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dirty="0">
                  <a:solidFill>
                    <a:schemeClr val="bg1"/>
                  </a:solidFill>
                </a:rPr>
                <a:t>Law firms</a:t>
              </a:r>
              <a:endParaRPr lang="en-GB" sz="1200" dirty="0">
                <a:solidFill>
                  <a:schemeClr val="bg1"/>
                </a:solidFill>
              </a:endParaRPr>
            </a:p>
          </p:txBody>
        </p:sp>
      </p:grpSp>
      <p:sp>
        <p:nvSpPr>
          <p:cNvPr id="14" name="TextBox 13">
            <a:extLst>
              <a:ext uri="{FF2B5EF4-FFF2-40B4-BE49-F238E27FC236}">
                <a16:creationId xmlns:a16="http://schemas.microsoft.com/office/drawing/2014/main" id="{07F5BC92-A74F-7D17-DF99-423297E7595C}"/>
              </a:ext>
            </a:extLst>
          </p:cNvPr>
          <p:cNvSpPr txBox="1"/>
          <p:nvPr/>
        </p:nvSpPr>
        <p:spPr>
          <a:xfrm>
            <a:off x="7000016" y="1195254"/>
            <a:ext cx="3950152" cy="45720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Aft>
                <a:spcPts val="0"/>
              </a:spcAft>
              <a:buClrTx/>
              <a:buSzTx/>
              <a:buFontTx/>
              <a:buNone/>
              <a:tabLst/>
              <a:defRPr/>
            </a:pPr>
            <a:r>
              <a:rPr lang="en-IN" sz="1600" b="1" dirty="0">
                <a:solidFill>
                  <a:schemeClr val="tx1">
                    <a:lumMod val="100000"/>
                  </a:schemeClr>
                </a:solidFill>
              </a:rPr>
              <a:t>Where do lawyers want to deploy generative AI</a:t>
            </a:r>
          </a:p>
        </p:txBody>
      </p:sp>
      <p:sp>
        <p:nvSpPr>
          <p:cNvPr id="17" name="TextBox 16">
            <a:extLst>
              <a:ext uri="{FF2B5EF4-FFF2-40B4-BE49-F238E27FC236}">
                <a16:creationId xmlns:a16="http://schemas.microsoft.com/office/drawing/2014/main" id="{6CC6DA95-AA01-BFE9-FA84-3E38006D21AD}"/>
              </a:ext>
            </a:extLst>
          </p:cNvPr>
          <p:cNvSpPr txBox="1"/>
          <p:nvPr/>
        </p:nvSpPr>
        <p:spPr>
          <a:xfrm>
            <a:off x="1233846" y="1195254"/>
            <a:ext cx="3918013" cy="45720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Aft>
                <a:spcPts val="0"/>
              </a:spcAft>
              <a:buClrTx/>
              <a:buSzTx/>
              <a:buFontTx/>
              <a:buNone/>
              <a:tabLst/>
              <a:defRPr/>
            </a:pPr>
            <a:r>
              <a:rPr lang="en-IN" sz="1600" b="1" dirty="0">
                <a:solidFill>
                  <a:schemeClr val="tx1">
                    <a:lumMod val="100000"/>
                  </a:schemeClr>
                </a:solidFill>
              </a:rPr>
              <a:t>What AI is good at</a:t>
            </a:r>
          </a:p>
        </p:txBody>
      </p:sp>
      <p:grpSp>
        <p:nvGrpSpPr>
          <p:cNvPr id="93" name="Group 92">
            <a:extLst>
              <a:ext uri="{FF2B5EF4-FFF2-40B4-BE49-F238E27FC236}">
                <a16:creationId xmlns:a16="http://schemas.microsoft.com/office/drawing/2014/main" id="{0A52A0F3-33B1-BDB5-FF00-56461B854437}"/>
              </a:ext>
            </a:extLst>
          </p:cNvPr>
          <p:cNvGrpSpPr/>
          <p:nvPr/>
        </p:nvGrpSpPr>
        <p:grpSpPr>
          <a:xfrm>
            <a:off x="608015" y="1954362"/>
            <a:ext cx="978046" cy="3736079"/>
            <a:chOff x="706821" y="1954362"/>
            <a:chExt cx="978046" cy="3736079"/>
          </a:xfrm>
        </p:grpSpPr>
        <p:grpSp>
          <p:nvGrpSpPr>
            <p:cNvPr id="54" name="Group 34">
              <a:extLst>
                <a:ext uri="{FF2B5EF4-FFF2-40B4-BE49-F238E27FC236}">
                  <a16:creationId xmlns:a16="http://schemas.microsoft.com/office/drawing/2014/main" id="{FA9D3AE2-FE70-7618-A0F3-61EA5D6A2E8D}"/>
                </a:ext>
              </a:extLst>
            </p:cNvPr>
            <p:cNvGrpSpPr>
              <a:grpSpLocks noChangeAspect="1"/>
            </p:cNvGrpSpPr>
            <p:nvPr/>
          </p:nvGrpSpPr>
          <p:grpSpPr bwMode="auto">
            <a:xfrm>
              <a:off x="890320" y="2163233"/>
              <a:ext cx="611048" cy="569238"/>
              <a:chOff x="554" y="1925"/>
              <a:chExt cx="760" cy="708"/>
            </a:xfrm>
          </p:grpSpPr>
          <p:sp>
            <p:nvSpPr>
              <p:cNvPr id="55" name="AutoShape 33">
                <a:extLst>
                  <a:ext uri="{FF2B5EF4-FFF2-40B4-BE49-F238E27FC236}">
                    <a16:creationId xmlns:a16="http://schemas.microsoft.com/office/drawing/2014/main" id="{50A5B313-95F9-6642-028E-9D81F350A621}"/>
                  </a:ext>
                </a:extLst>
              </p:cNvPr>
              <p:cNvSpPr>
                <a:spLocks noChangeAspect="1" noChangeArrowheads="1" noTextEdit="1"/>
              </p:cNvSpPr>
              <p:nvPr/>
            </p:nvSpPr>
            <p:spPr bwMode="auto">
              <a:xfrm>
                <a:off x="554" y="1925"/>
                <a:ext cx="760" cy="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35">
                <a:extLst>
                  <a:ext uri="{FF2B5EF4-FFF2-40B4-BE49-F238E27FC236}">
                    <a16:creationId xmlns:a16="http://schemas.microsoft.com/office/drawing/2014/main" id="{EC4BA723-060E-62DD-E2ED-647C72F9B4D7}"/>
                  </a:ext>
                </a:extLst>
              </p:cNvPr>
              <p:cNvSpPr>
                <a:spLocks noEditPoints="1"/>
              </p:cNvSpPr>
              <p:nvPr/>
            </p:nvSpPr>
            <p:spPr bwMode="auto">
              <a:xfrm>
                <a:off x="554" y="1925"/>
                <a:ext cx="760" cy="506"/>
              </a:xfrm>
              <a:custGeom>
                <a:avLst/>
                <a:gdLst>
                  <a:gd name="T0" fmla="*/ 760 w 760"/>
                  <a:gd name="T1" fmla="*/ 506 h 506"/>
                  <a:gd name="T2" fmla="*/ 0 w 760"/>
                  <a:gd name="T3" fmla="*/ 506 h 506"/>
                  <a:gd name="T4" fmla="*/ 0 w 760"/>
                  <a:gd name="T5" fmla="*/ 44 h 506"/>
                  <a:gd name="T6" fmla="*/ 0 w 760"/>
                  <a:gd name="T7" fmla="*/ 44 h 506"/>
                  <a:gd name="T8" fmla="*/ 0 w 760"/>
                  <a:gd name="T9" fmla="*/ 36 h 506"/>
                  <a:gd name="T10" fmla="*/ 4 w 760"/>
                  <a:gd name="T11" fmla="*/ 28 h 506"/>
                  <a:gd name="T12" fmla="*/ 8 w 760"/>
                  <a:gd name="T13" fmla="*/ 20 h 506"/>
                  <a:gd name="T14" fmla="*/ 14 w 760"/>
                  <a:gd name="T15" fmla="*/ 12 h 506"/>
                  <a:gd name="T16" fmla="*/ 20 w 760"/>
                  <a:gd name="T17" fmla="*/ 8 h 506"/>
                  <a:gd name="T18" fmla="*/ 28 w 760"/>
                  <a:gd name="T19" fmla="*/ 4 h 506"/>
                  <a:gd name="T20" fmla="*/ 36 w 760"/>
                  <a:gd name="T21" fmla="*/ 0 h 506"/>
                  <a:gd name="T22" fmla="*/ 46 w 760"/>
                  <a:gd name="T23" fmla="*/ 0 h 506"/>
                  <a:gd name="T24" fmla="*/ 716 w 760"/>
                  <a:gd name="T25" fmla="*/ 0 h 506"/>
                  <a:gd name="T26" fmla="*/ 716 w 760"/>
                  <a:gd name="T27" fmla="*/ 0 h 506"/>
                  <a:gd name="T28" fmla="*/ 724 w 760"/>
                  <a:gd name="T29" fmla="*/ 0 h 506"/>
                  <a:gd name="T30" fmla="*/ 734 w 760"/>
                  <a:gd name="T31" fmla="*/ 4 h 506"/>
                  <a:gd name="T32" fmla="*/ 740 w 760"/>
                  <a:gd name="T33" fmla="*/ 8 h 506"/>
                  <a:gd name="T34" fmla="*/ 748 w 760"/>
                  <a:gd name="T35" fmla="*/ 12 h 506"/>
                  <a:gd name="T36" fmla="*/ 754 w 760"/>
                  <a:gd name="T37" fmla="*/ 20 h 506"/>
                  <a:gd name="T38" fmla="*/ 758 w 760"/>
                  <a:gd name="T39" fmla="*/ 28 h 506"/>
                  <a:gd name="T40" fmla="*/ 760 w 760"/>
                  <a:gd name="T41" fmla="*/ 36 h 506"/>
                  <a:gd name="T42" fmla="*/ 760 w 760"/>
                  <a:gd name="T43" fmla="*/ 44 h 506"/>
                  <a:gd name="T44" fmla="*/ 760 w 760"/>
                  <a:gd name="T45" fmla="*/ 506 h 506"/>
                  <a:gd name="T46" fmla="*/ 18 w 760"/>
                  <a:gd name="T47" fmla="*/ 488 h 506"/>
                  <a:gd name="T48" fmla="*/ 742 w 760"/>
                  <a:gd name="T49" fmla="*/ 488 h 506"/>
                  <a:gd name="T50" fmla="*/ 742 w 760"/>
                  <a:gd name="T51" fmla="*/ 44 h 506"/>
                  <a:gd name="T52" fmla="*/ 742 w 760"/>
                  <a:gd name="T53" fmla="*/ 44 h 506"/>
                  <a:gd name="T54" fmla="*/ 740 w 760"/>
                  <a:gd name="T55" fmla="*/ 34 h 506"/>
                  <a:gd name="T56" fmla="*/ 734 w 760"/>
                  <a:gd name="T57" fmla="*/ 26 h 506"/>
                  <a:gd name="T58" fmla="*/ 726 w 760"/>
                  <a:gd name="T59" fmla="*/ 20 h 506"/>
                  <a:gd name="T60" fmla="*/ 716 w 760"/>
                  <a:gd name="T61" fmla="*/ 18 h 506"/>
                  <a:gd name="T62" fmla="*/ 46 w 760"/>
                  <a:gd name="T63" fmla="*/ 18 h 506"/>
                  <a:gd name="T64" fmla="*/ 46 w 760"/>
                  <a:gd name="T65" fmla="*/ 18 h 506"/>
                  <a:gd name="T66" fmla="*/ 34 w 760"/>
                  <a:gd name="T67" fmla="*/ 20 h 506"/>
                  <a:gd name="T68" fmla="*/ 26 w 760"/>
                  <a:gd name="T69" fmla="*/ 26 h 506"/>
                  <a:gd name="T70" fmla="*/ 20 w 760"/>
                  <a:gd name="T71" fmla="*/ 34 h 506"/>
                  <a:gd name="T72" fmla="*/ 18 w 760"/>
                  <a:gd name="T73" fmla="*/ 44 h 506"/>
                  <a:gd name="T74" fmla="*/ 18 w 760"/>
                  <a:gd name="T75" fmla="*/ 48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0" h="506">
                    <a:moveTo>
                      <a:pt x="760" y="506"/>
                    </a:moveTo>
                    <a:lnTo>
                      <a:pt x="0" y="506"/>
                    </a:lnTo>
                    <a:lnTo>
                      <a:pt x="0" y="44"/>
                    </a:lnTo>
                    <a:lnTo>
                      <a:pt x="0" y="44"/>
                    </a:lnTo>
                    <a:lnTo>
                      <a:pt x="0" y="36"/>
                    </a:lnTo>
                    <a:lnTo>
                      <a:pt x="4" y="28"/>
                    </a:lnTo>
                    <a:lnTo>
                      <a:pt x="8" y="20"/>
                    </a:lnTo>
                    <a:lnTo>
                      <a:pt x="14" y="12"/>
                    </a:lnTo>
                    <a:lnTo>
                      <a:pt x="20" y="8"/>
                    </a:lnTo>
                    <a:lnTo>
                      <a:pt x="28" y="4"/>
                    </a:lnTo>
                    <a:lnTo>
                      <a:pt x="36" y="0"/>
                    </a:lnTo>
                    <a:lnTo>
                      <a:pt x="46" y="0"/>
                    </a:lnTo>
                    <a:lnTo>
                      <a:pt x="716" y="0"/>
                    </a:lnTo>
                    <a:lnTo>
                      <a:pt x="716" y="0"/>
                    </a:lnTo>
                    <a:lnTo>
                      <a:pt x="724" y="0"/>
                    </a:lnTo>
                    <a:lnTo>
                      <a:pt x="734" y="4"/>
                    </a:lnTo>
                    <a:lnTo>
                      <a:pt x="740" y="8"/>
                    </a:lnTo>
                    <a:lnTo>
                      <a:pt x="748" y="12"/>
                    </a:lnTo>
                    <a:lnTo>
                      <a:pt x="754" y="20"/>
                    </a:lnTo>
                    <a:lnTo>
                      <a:pt x="758" y="28"/>
                    </a:lnTo>
                    <a:lnTo>
                      <a:pt x="760" y="36"/>
                    </a:lnTo>
                    <a:lnTo>
                      <a:pt x="760" y="44"/>
                    </a:lnTo>
                    <a:lnTo>
                      <a:pt x="760" y="506"/>
                    </a:lnTo>
                    <a:close/>
                    <a:moveTo>
                      <a:pt x="18" y="488"/>
                    </a:moveTo>
                    <a:lnTo>
                      <a:pt x="742" y="488"/>
                    </a:lnTo>
                    <a:lnTo>
                      <a:pt x="742" y="44"/>
                    </a:lnTo>
                    <a:lnTo>
                      <a:pt x="742" y="44"/>
                    </a:lnTo>
                    <a:lnTo>
                      <a:pt x="740" y="34"/>
                    </a:lnTo>
                    <a:lnTo>
                      <a:pt x="734" y="26"/>
                    </a:lnTo>
                    <a:lnTo>
                      <a:pt x="726" y="20"/>
                    </a:lnTo>
                    <a:lnTo>
                      <a:pt x="716" y="18"/>
                    </a:lnTo>
                    <a:lnTo>
                      <a:pt x="46" y="18"/>
                    </a:lnTo>
                    <a:lnTo>
                      <a:pt x="46" y="18"/>
                    </a:lnTo>
                    <a:lnTo>
                      <a:pt x="34" y="20"/>
                    </a:lnTo>
                    <a:lnTo>
                      <a:pt x="26" y="26"/>
                    </a:lnTo>
                    <a:lnTo>
                      <a:pt x="20" y="34"/>
                    </a:lnTo>
                    <a:lnTo>
                      <a:pt x="18" y="44"/>
                    </a:lnTo>
                    <a:lnTo>
                      <a:pt x="18" y="48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36">
                <a:extLst>
                  <a:ext uri="{FF2B5EF4-FFF2-40B4-BE49-F238E27FC236}">
                    <a16:creationId xmlns:a16="http://schemas.microsoft.com/office/drawing/2014/main" id="{DA44F9E0-1F46-77A3-767B-F654357C7AA9}"/>
                  </a:ext>
                </a:extLst>
              </p:cNvPr>
              <p:cNvSpPr>
                <a:spLocks noEditPoints="1"/>
              </p:cNvSpPr>
              <p:nvPr/>
            </p:nvSpPr>
            <p:spPr bwMode="auto">
              <a:xfrm>
                <a:off x="554" y="2413"/>
                <a:ext cx="760" cy="116"/>
              </a:xfrm>
              <a:custGeom>
                <a:avLst/>
                <a:gdLst>
                  <a:gd name="T0" fmla="*/ 734 w 760"/>
                  <a:gd name="T1" fmla="*/ 116 h 116"/>
                  <a:gd name="T2" fmla="*/ 28 w 760"/>
                  <a:gd name="T3" fmla="*/ 116 h 116"/>
                  <a:gd name="T4" fmla="*/ 28 w 760"/>
                  <a:gd name="T5" fmla="*/ 116 h 116"/>
                  <a:gd name="T6" fmla="*/ 16 w 760"/>
                  <a:gd name="T7" fmla="*/ 114 h 116"/>
                  <a:gd name="T8" fmla="*/ 8 w 760"/>
                  <a:gd name="T9" fmla="*/ 108 h 116"/>
                  <a:gd name="T10" fmla="*/ 2 w 760"/>
                  <a:gd name="T11" fmla="*/ 98 h 116"/>
                  <a:gd name="T12" fmla="*/ 0 w 760"/>
                  <a:gd name="T13" fmla="*/ 88 h 116"/>
                  <a:gd name="T14" fmla="*/ 0 w 760"/>
                  <a:gd name="T15" fmla="*/ 0 h 116"/>
                  <a:gd name="T16" fmla="*/ 760 w 760"/>
                  <a:gd name="T17" fmla="*/ 0 h 116"/>
                  <a:gd name="T18" fmla="*/ 760 w 760"/>
                  <a:gd name="T19" fmla="*/ 88 h 116"/>
                  <a:gd name="T20" fmla="*/ 760 w 760"/>
                  <a:gd name="T21" fmla="*/ 88 h 116"/>
                  <a:gd name="T22" fmla="*/ 758 w 760"/>
                  <a:gd name="T23" fmla="*/ 98 h 116"/>
                  <a:gd name="T24" fmla="*/ 752 w 760"/>
                  <a:gd name="T25" fmla="*/ 108 h 116"/>
                  <a:gd name="T26" fmla="*/ 744 w 760"/>
                  <a:gd name="T27" fmla="*/ 114 h 116"/>
                  <a:gd name="T28" fmla="*/ 734 w 760"/>
                  <a:gd name="T29" fmla="*/ 116 h 116"/>
                  <a:gd name="T30" fmla="*/ 734 w 760"/>
                  <a:gd name="T31" fmla="*/ 116 h 116"/>
                  <a:gd name="T32" fmla="*/ 18 w 760"/>
                  <a:gd name="T33" fmla="*/ 18 h 116"/>
                  <a:gd name="T34" fmla="*/ 18 w 760"/>
                  <a:gd name="T35" fmla="*/ 88 h 116"/>
                  <a:gd name="T36" fmla="*/ 18 w 760"/>
                  <a:gd name="T37" fmla="*/ 88 h 116"/>
                  <a:gd name="T38" fmla="*/ 18 w 760"/>
                  <a:gd name="T39" fmla="*/ 92 h 116"/>
                  <a:gd name="T40" fmla="*/ 20 w 760"/>
                  <a:gd name="T41" fmla="*/ 94 h 116"/>
                  <a:gd name="T42" fmla="*/ 24 w 760"/>
                  <a:gd name="T43" fmla="*/ 96 h 116"/>
                  <a:gd name="T44" fmla="*/ 28 w 760"/>
                  <a:gd name="T45" fmla="*/ 98 h 116"/>
                  <a:gd name="T46" fmla="*/ 734 w 760"/>
                  <a:gd name="T47" fmla="*/ 98 h 116"/>
                  <a:gd name="T48" fmla="*/ 734 w 760"/>
                  <a:gd name="T49" fmla="*/ 98 h 116"/>
                  <a:gd name="T50" fmla="*/ 738 w 760"/>
                  <a:gd name="T51" fmla="*/ 96 h 116"/>
                  <a:gd name="T52" fmla="*/ 740 w 760"/>
                  <a:gd name="T53" fmla="*/ 94 h 116"/>
                  <a:gd name="T54" fmla="*/ 742 w 760"/>
                  <a:gd name="T55" fmla="*/ 92 h 116"/>
                  <a:gd name="T56" fmla="*/ 742 w 760"/>
                  <a:gd name="T57" fmla="*/ 88 h 116"/>
                  <a:gd name="T58" fmla="*/ 742 w 760"/>
                  <a:gd name="T59" fmla="*/ 18 h 116"/>
                  <a:gd name="T60" fmla="*/ 18 w 760"/>
                  <a:gd name="T61"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0" h="116">
                    <a:moveTo>
                      <a:pt x="734" y="116"/>
                    </a:moveTo>
                    <a:lnTo>
                      <a:pt x="28" y="116"/>
                    </a:lnTo>
                    <a:lnTo>
                      <a:pt x="28" y="116"/>
                    </a:lnTo>
                    <a:lnTo>
                      <a:pt x="16" y="114"/>
                    </a:lnTo>
                    <a:lnTo>
                      <a:pt x="8" y="108"/>
                    </a:lnTo>
                    <a:lnTo>
                      <a:pt x="2" y="98"/>
                    </a:lnTo>
                    <a:lnTo>
                      <a:pt x="0" y="88"/>
                    </a:lnTo>
                    <a:lnTo>
                      <a:pt x="0" y="0"/>
                    </a:lnTo>
                    <a:lnTo>
                      <a:pt x="760" y="0"/>
                    </a:lnTo>
                    <a:lnTo>
                      <a:pt x="760" y="88"/>
                    </a:lnTo>
                    <a:lnTo>
                      <a:pt x="760" y="88"/>
                    </a:lnTo>
                    <a:lnTo>
                      <a:pt x="758" y="98"/>
                    </a:lnTo>
                    <a:lnTo>
                      <a:pt x="752" y="108"/>
                    </a:lnTo>
                    <a:lnTo>
                      <a:pt x="744" y="114"/>
                    </a:lnTo>
                    <a:lnTo>
                      <a:pt x="734" y="116"/>
                    </a:lnTo>
                    <a:lnTo>
                      <a:pt x="734" y="116"/>
                    </a:lnTo>
                    <a:close/>
                    <a:moveTo>
                      <a:pt x="18" y="18"/>
                    </a:moveTo>
                    <a:lnTo>
                      <a:pt x="18" y="88"/>
                    </a:lnTo>
                    <a:lnTo>
                      <a:pt x="18" y="88"/>
                    </a:lnTo>
                    <a:lnTo>
                      <a:pt x="18" y="92"/>
                    </a:lnTo>
                    <a:lnTo>
                      <a:pt x="20" y="94"/>
                    </a:lnTo>
                    <a:lnTo>
                      <a:pt x="24" y="96"/>
                    </a:lnTo>
                    <a:lnTo>
                      <a:pt x="28" y="98"/>
                    </a:lnTo>
                    <a:lnTo>
                      <a:pt x="734" y="98"/>
                    </a:lnTo>
                    <a:lnTo>
                      <a:pt x="734" y="98"/>
                    </a:lnTo>
                    <a:lnTo>
                      <a:pt x="738" y="96"/>
                    </a:lnTo>
                    <a:lnTo>
                      <a:pt x="740" y="94"/>
                    </a:lnTo>
                    <a:lnTo>
                      <a:pt x="742" y="92"/>
                    </a:lnTo>
                    <a:lnTo>
                      <a:pt x="742" y="88"/>
                    </a:lnTo>
                    <a:lnTo>
                      <a:pt x="742" y="18"/>
                    </a:lnTo>
                    <a:lnTo>
                      <a:pt x="18"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37">
                <a:extLst>
                  <a:ext uri="{FF2B5EF4-FFF2-40B4-BE49-F238E27FC236}">
                    <a16:creationId xmlns:a16="http://schemas.microsoft.com/office/drawing/2014/main" id="{DAA37272-0C96-39D7-2514-5399BCEC3613}"/>
                  </a:ext>
                </a:extLst>
              </p:cNvPr>
              <p:cNvSpPr>
                <a:spLocks noChangeArrowheads="1"/>
              </p:cNvSpPr>
              <p:nvPr/>
            </p:nvSpPr>
            <p:spPr bwMode="auto">
              <a:xfrm>
                <a:off x="890" y="2457"/>
                <a:ext cx="90" cy="18"/>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38">
                <a:extLst>
                  <a:ext uri="{FF2B5EF4-FFF2-40B4-BE49-F238E27FC236}">
                    <a16:creationId xmlns:a16="http://schemas.microsoft.com/office/drawing/2014/main" id="{F27EA794-899B-1F7C-C625-111BF81DDCA9}"/>
                  </a:ext>
                </a:extLst>
              </p:cNvPr>
              <p:cNvSpPr>
                <a:spLocks noEditPoints="1"/>
              </p:cNvSpPr>
              <p:nvPr/>
            </p:nvSpPr>
            <p:spPr bwMode="auto">
              <a:xfrm>
                <a:off x="824" y="2511"/>
                <a:ext cx="222" cy="122"/>
              </a:xfrm>
              <a:custGeom>
                <a:avLst/>
                <a:gdLst>
                  <a:gd name="T0" fmla="*/ 222 w 222"/>
                  <a:gd name="T1" fmla="*/ 122 h 122"/>
                  <a:gd name="T2" fmla="*/ 0 w 222"/>
                  <a:gd name="T3" fmla="*/ 122 h 122"/>
                  <a:gd name="T4" fmla="*/ 20 w 222"/>
                  <a:gd name="T5" fmla="*/ 0 h 122"/>
                  <a:gd name="T6" fmla="*/ 200 w 222"/>
                  <a:gd name="T7" fmla="*/ 0 h 122"/>
                  <a:gd name="T8" fmla="*/ 222 w 222"/>
                  <a:gd name="T9" fmla="*/ 122 h 122"/>
                  <a:gd name="T10" fmla="*/ 20 w 222"/>
                  <a:gd name="T11" fmla="*/ 104 h 122"/>
                  <a:gd name="T12" fmla="*/ 200 w 222"/>
                  <a:gd name="T13" fmla="*/ 104 h 122"/>
                  <a:gd name="T14" fmla="*/ 186 w 222"/>
                  <a:gd name="T15" fmla="*/ 18 h 122"/>
                  <a:gd name="T16" fmla="*/ 36 w 222"/>
                  <a:gd name="T17" fmla="*/ 18 h 122"/>
                  <a:gd name="T18" fmla="*/ 20 w 222"/>
                  <a:gd name="T19" fmla="*/ 10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22">
                    <a:moveTo>
                      <a:pt x="222" y="122"/>
                    </a:moveTo>
                    <a:lnTo>
                      <a:pt x="0" y="122"/>
                    </a:lnTo>
                    <a:lnTo>
                      <a:pt x="20" y="0"/>
                    </a:lnTo>
                    <a:lnTo>
                      <a:pt x="200" y="0"/>
                    </a:lnTo>
                    <a:lnTo>
                      <a:pt x="222" y="122"/>
                    </a:lnTo>
                    <a:close/>
                    <a:moveTo>
                      <a:pt x="20" y="104"/>
                    </a:moveTo>
                    <a:lnTo>
                      <a:pt x="200" y="104"/>
                    </a:lnTo>
                    <a:lnTo>
                      <a:pt x="186" y="18"/>
                    </a:lnTo>
                    <a:lnTo>
                      <a:pt x="36" y="18"/>
                    </a:lnTo>
                    <a:lnTo>
                      <a:pt x="20" y="104"/>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39">
                <a:extLst>
                  <a:ext uri="{FF2B5EF4-FFF2-40B4-BE49-F238E27FC236}">
                    <a16:creationId xmlns:a16="http://schemas.microsoft.com/office/drawing/2014/main" id="{E4E979C9-B51F-3A9D-F7E2-709B85C5EF0E}"/>
                  </a:ext>
                </a:extLst>
              </p:cNvPr>
              <p:cNvSpPr>
                <a:spLocks noChangeArrowheads="1"/>
              </p:cNvSpPr>
              <p:nvPr/>
            </p:nvSpPr>
            <p:spPr bwMode="auto">
              <a:xfrm>
                <a:off x="742" y="2615"/>
                <a:ext cx="386" cy="18"/>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40">
                <a:extLst>
                  <a:ext uri="{FF2B5EF4-FFF2-40B4-BE49-F238E27FC236}">
                    <a16:creationId xmlns:a16="http://schemas.microsoft.com/office/drawing/2014/main" id="{A81D2D11-8E2B-C325-BD20-5CA0BF2E051F}"/>
                  </a:ext>
                </a:extLst>
              </p:cNvPr>
              <p:cNvSpPr>
                <a:spLocks noEditPoints="1"/>
              </p:cNvSpPr>
              <p:nvPr/>
            </p:nvSpPr>
            <p:spPr bwMode="auto">
              <a:xfrm>
                <a:off x="614" y="1991"/>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41">
                <a:extLst>
                  <a:ext uri="{FF2B5EF4-FFF2-40B4-BE49-F238E27FC236}">
                    <a16:creationId xmlns:a16="http://schemas.microsoft.com/office/drawing/2014/main" id="{152A5671-B678-89D7-5CE1-CC0B68F79976}"/>
                  </a:ext>
                </a:extLst>
              </p:cNvPr>
              <p:cNvSpPr>
                <a:spLocks noEditPoints="1"/>
              </p:cNvSpPr>
              <p:nvPr/>
            </p:nvSpPr>
            <p:spPr bwMode="auto">
              <a:xfrm>
                <a:off x="820" y="1991"/>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42">
                <a:extLst>
                  <a:ext uri="{FF2B5EF4-FFF2-40B4-BE49-F238E27FC236}">
                    <a16:creationId xmlns:a16="http://schemas.microsoft.com/office/drawing/2014/main" id="{176E55B4-DDE4-AFD7-32D7-857C9B09BAE8}"/>
                  </a:ext>
                </a:extLst>
              </p:cNvPr>
              <p:cNvSpPr>
                <a:spLocks noChangeArrowheads="1"/>
              </p:cNvSpPr>
              <p:nvPr/>
            </p:nvSpPr>
            <p:spPr bwMode="auto">
              <a:xfrm>
                <a:off x="1026" y="1991"/>
                <a:ext cx="240" cy="18"/>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43">
                <a:extLst>
                  <a:ext uri="{FF2B5EF4-FFF2-40B4-BE49-F238E27FC236}">
                    <a16:creationId xmlns:a16="http://schemas.microsoft.com/office/drawing/2014/main" id="{ED246732-D246-43DA-1982-3DCB233291C4}"/>
                  </a:ext>
                </a:extLst>
              </p:cNvPr>
              <p:cNvSpPr>
                <a:spLocks noChangeArrowheads="1"/>
              </p:cNvSpPr>
              <p:nvPr/>
            </p:nvSpPr>
            <p:spPr bwMode="auto">
              <a:xfrm>
                <a:off x="626" y="2343"/>
                <a:ext cx="18" cy="32"/>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44">
                <a:extLst>
                  <a:ext uri="{FF2B5EF4-FFF2-40B4-BE49-F238E27FC236}">
                    <a16:creationId xmlns:a16="http://schemas.microsoft.com/office/drawing/2014/main" id="{DDBCA160-0A66-AD9E-490F-9BFD2AEDA6AB}"/>
                  </a:ext>
                </a:extLst>
              </p:cNvPr>
              <p:cNvSpPr>
                <a:spLocks noChangeArrowheads="1"/>
              </p:cNvSpPr>
              <p:nvPr/>
            </p:nvSpPr>
            <p:spPr bwMode="auto">
              <a:xfrm>
                <a:off x="672" y="2325"/>
                <a:ext cx="18" cy="50"/>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45">
                <a:extLst>
                  <a:ext uri="{FF2B5EF4-FFF2-40B4-BE49-F238E27FC236}">
                    <a16:creationId xmlns:a16="http://schemas.microsoft.com/office/drawing/2014/main" id="{C10C24DA-0E45-7AFE-7443-E4B58467A881}"/>
                  </a:ext>
                </a:extLst>
              </p:cNvPr>
              <p:cNvSpPr>
                <a:spLocks noChangeArrowheads="1"/>
              </p:cNvSpPr>
              <p:nvPr/>
            </p:nvSpPr>
            <p:spPr bwMode="auto">
              <a:xfrm>
                <a:off x="718" y="2275"/>
                <a:ext cx="18" cy="100"/>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46">
                <a:extLst>
                  <a:ext uri="{FF2B5EF4-FFF2-40B4-BE49-F238E27FC236}">
                    <a16:creationId xmlns:a16="http://schemas.microsoft.com/office/drawing/2014/main" id="{3D0F0227-AED4-C5D1-AFCC-31BFA75683F7}"/>
                  </a:ext>
                </a:extLst>
              </p:cNvPr>
              <p:cNvSpPr>
                <a:spLocks noChangeArrowheads="1"/>
              </p:cNvSpPr>
              <p:nvPr/>
            </p:nvSpPr>
            <p:spPr bwMode="auto">
              <a:xfrm>
                <a:off x="764" y="2293"/>
                <a:ext cx="18" cy="82"/>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47">
                <a:extLst>
                  <a:ext uri="{FF2B5EF4-FFF2-40B4-BE49-F238E27FC236}">
                    <a16:creationId xmlns:a16="http://schemas.microsoft.com/office/drawing/2014/main" id="{75599C2E-807B-2EEA-C079-9B404E0D3230}"/>
                  </a:ext>
                </a:extLst>
              </p:cNvPr>
              <p:cNvSpPr>
                <a:spLocks noChangeArrowheads="1"/>
              </p:cNvSpPr>
              <p:nvPr/>
            </p:nvSpPr>
            <p:spPr bwMode="auto">
              <a:xfrm>
                <a:off x="810" y="2337"/>
                <a:ext cx="18" cy="38"/>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48">
                <a:extLst>
                  <a:ext uri="{FF2B5EF4-FFF2-40B4-BE49-F238E27FC236}">
                    <a16:creationId xmlns:a16="http://schemas.microsoft.com/office/drawing/2014/main" id="{30D88548-6E14-9B0F-6515-668072D5C6A3}"/>
                  </a:ext>
                </a:extLst>
              </p:cNvPr>
              <p:cNvSpPr>
                <a:spLocks noChangeArrowheads="1"/>
              </p:cNvSpPr>
              <p:nvPr/>
            </p:nvSpPr>
            <p:spPr bwMode="auto">
              <a:xfrm>
                <a:off x="856" y="2293"/>
                <a:ext cx="18" cy="82"/>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49">
                <a:extLst>
                  <a:ext uri="{FF2B5EF4-FFF2-40B4-BE49-F238E27FC236}">
                    <a16:creationId xmlns:a16="http://schemas.microsoft.com/office/drawing/2014/main" id="{9B167B6A-5547-167F-2772-494F1A6918BF}"/>
                  </a:ext>
                </a:extLst>
              </p:cNvPr>
              <p:cNvSpPr>
                <a:spLocks noChangeArrowheads="1"/>
              </p:cNvSpPr>
              <p:nvPr/>
            </p:nvSpPr>
            <p:spPr bwMode="auto">
              <a:xfrm>
                <a:off x="902" y="2235"/>
                <a:ext cx="18" cy="140"/>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50">
                <a:extLst>
                  <a:ext uri="{FF2B5EF4-FFF2-40B4-BE49-F238E27FC236}">
                    <a16:creationId xmlns:a16="http://schemas.microsoft.com/office/drawing/2014/main" id="{E3AAE65D-C39C-EB76-E6B0-A0D78904B915}"/>
                  </a:ext>
                </a:extLst>
              </p:cNvPr>
              <p:cNvSpPr>
                <a:spLocks noChangeArrowheads="1"/>
              </p:cNvSpPr>
              <p:nvPr/>
            </p:nvSpPr>
            <p:spPr bwMode="auto">
              <a:xfrm>
                <a:off x="948" y="2273"/>
                <a:ext cx="18" cy="102"/>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Rectangle 51">
                <a:extLst>
                  <a:ext uri="{FF2B5EF4-FFF2-40B4-BE49-F238E27FC236}">
                    <a16:creationId xmlns:a16="http://schemas.microsoft.com/office/drawing/2014/main" id="{9E183177-237C-C868-5CB8-0DDC91A20475}"/>
                  </a:ext>
                </a:extLst>
              </p:cNvPr>
              <p:cNvSpPr>
                <a:spLocks noChangeArrowheads="1"/>
              </p:cNvSpPr>
              <p:nvPr/>
            </p:nvSpPr>
            <p:spPr bwMode="auto">
              <a:xfrm>
                <a:off x="994" y="2337"/>
                <a:ext cx="18" cy="38"/>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52">
                <a:extLst>
                  <a:ext uri="{FF2B5EF4-FFF2-40B4-BE49-F238E27FC236}">
                    <a16:creationId xmlns:a16="http://schemas.microsoft.com/office/drawing/2014/main" id="{4655C7C1-635A-0BAA-A5F3-C03675009150}"/>
                  </a:ext>
                </a:extLst>
              </p:cNvPr>
              <p:cNvSpPr>
                <a:spLocks noChangeArrowheads="1"/>
              </p:cNvSpPr>
              <p:nvPr/>
            </p:nvSpPr>
            <p:spPr bwMode="auto">
              <a:xfrm>
                <a:off x="1040" y="2241"/>
                <a:ext cx="18" cy="134"/>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53">
                <a:extLst>
                  <a:ext uri="{FF2B5EF4-FFF2-40B4-BE49-F238E27FC236}">
                    <a16:creationId xmlns:a16="http://schemas.microsoft.com/office/drawing/2014/main" id="{5C0AB45A-A3FB-A98E-6AE3-BFACB13F5888}"/>
                  </a:ext>
                </a:extLst>
              </p:cNvPr>
              <p:cNvSpPr>
                <a:spLocks noChangeArrowheads="1"/>
              </p:cNvSpPr>
              <p:nvPr/>
            </p:nvSpPr>
            <p:spPr bwMode="auto">
              <a:xfrm>
                <a:off x="1086" y="2283"/>
                <a:ext cx="18" cy="92"/>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Rectangle 54">
                <a:extLst>
                  <a:ext uri="{FF2B5EF4-FFF2-40B4-BE49-F238E27FC236}">
                    <a16:creationId xmlns:a16="http://schemas.microsoft.com/office/drawing/2014/main" id="{91572622-D7AD-013E-F38D-951E9C03659B}"/>
                  </a:ext>
                </a:extLst>
              </p:cNvPr>
              <p:cNvSpPr>
                <a:spLocks noChangeArrowheads="1"/>
              </p:cNvSpPr>
              <p:nvPr/>
            </p:nvSpPr>
            <p:spPr bwMode="auto">
              <a:xfrm>
                <a:off x="1132" y="2175"/>
                <a:ext cx="18" cy="200"/>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Rectangle 55">
                <a:extLst>
                  <a:ext uri="{FF2B5EF4-FFF2-40B4-BE49-F238E27FC236}">
                    <a16:creationId xmlns:a16="http://schemas.microsoft.com/office/drawing/2014/main" id="{0B94FF32-9238-7362-9FD7-F13333098CB6}"/>
                  </a:ext>
                </a:extLst>
              </p:cNvPr>
              <p:cNvSpPr>
                <a:spLocks noChangeArrowheads="1"/>
              </p:cNvSpPr>
              <p:nvPr/>
            </p:nvSpPr>
            <p:spPr bwMode="auto">
              <a:xfrm>
                <a:off x="1178" y="2241"/>
                <a:ext cx="18" cy="134"/>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Rectangle 56">
                <a:extLst>
                  <a:ext uri="{FF2B5EF4-FFF2-40B4-BE49-F238E27FC236}">
                    <a16:creationId xmlns:a16="http://schemas.microsoft.com/office/drawing/2014/main" id="{35F8B89C-8EC8-78B5-590D-FDEF96CF231D}"/>
                  </a:ext>
                </a:extLst>
              </p:cNvPr>
              <p:cNvSpPr>
                <a:spLocks noChangeArrowheads="1"/>
              </p:cNvSpPr>
              <p:nvPr/>
            </p:nvSpPr>
            <p:spPr bwMode="auto">
              <a:xfrm>
                <a:off x="1224" y="2291"/>
                <a:ext cx="18" cy="84"/>
              </a:xfrm>
              <a:prstGeom prst="rect">
                <a:avLst/>
              </a:prstGeom>
              <a:solidFill>
                <a:schemeClr val="tx2">
                  <a:lumMod val="10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57">
                <a:extLst>
                  <a:ext uri="{FF2B5EF4-FFF2-40B4-BE49-F238E27FC236}">
                    <a16:creationId xmlns:a16="http://schemas.microsoft.com/office/drawing/2014/main" id="{94D39F2D-75FB-0826-BC13-6C3C98F96DED}"/>
                  </a:ext>
                </a:extLst>
              </p:cNvPr>
              <p:cNvSpPr>
                <a:spLocks/>
              </p:cNvSpPr>
              <p:nvPr/>
            </p:nvSpPr>
            <p:spPr bwMode="auto">
              <a:xfrm>
                <a:off x="614" y="2125"/>
                <a:ext cx="628" cy="192"/>
              </a:xfrm>
              <a:custGeom>
                <a:avLst/>
                <a:gdLst>
                  <a:gd name="T0" fmla="*/ 40 w 628"/>
                  <a:gd name="T1" fmla="*/ 192 h 192"/>
                  <a:gd name="T2" fmla="*/ 0 w 628"/>
                  <a:gd name="T3" fmla="*/ 192 h 192"/>
                  <a:gd name="T4" fmla="*/ 0 w 628"/>
                  <a:gd name="T5" fmla="*/ 174 h 192"/>
                  <a:gd name="T6" fmla="*/ 32 w 628"/>
                  <a:gd name="T7" fmla="*/ 174 h 192"/>
                  <a:gd name="T8" fmla="*/ 100 w 628"/>
                  <a:gd name="T9" fmla="*/ 106 h 192"/>
                  <a:gd name="T10" fmla="*/ 212 w 628"/>
                  <a:gd name="T11" fmla="*/ 106 h 192"/>
                  <a:gd name="T12" fmla="*/ 266 w 628"/>
                  <a:gd name="T13" fmla="*/ 52 h 192"/>
                  <a:gd name="T14" fmla="*/ 440 w 628"/>
                  <a:gd name="T15" fmla="*/ 52 h 192"/>
                  <a:gd name="T16" fmla="*/ 492 w 628"/>
                  <a:gd name="T17" fmla="*/ 0 h 192"/>
                  <a:gd name="T18" fmla="*/ 628 w 628"/>
                  <a:gd name="T19" fmla="*/ 0 h 192"/>
                  <a:gd name="T20" fmla="*/ 628 w 628"/>
                  <a:gd name="T21" fmla="*/ 18 h 192"/>
                  <a:gd name="T22" fmla="*/ 500 w 628"/>
                  <a:gd name="T23" fmla="*/ 18 h 192"/>
                  <a:gd name="T24" fmla="*/ 448 w 628"/>
                  <a:gd name="T25" fmla="*/ 70 h 192"/>
                  <a:gd name="T26" fmla="*/ 274 w 628"/>
                  <a:gd name="T27" fmla="*/ 70 h 192"/>
                  <a:gd name="T28" fmla="*/ 218 w 628"/>
                  <a:gd name="T29" fmla="*/ 124 h 192"/>
                  <a:gd name="T30" fmla="*/ 106 w 628"/>
                  <a:gd name="T31" fmla="*/ 124 h 192"/>
                  <a:gd name="T32" fmla="*/ 40 w 628"/>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8" h="192">
                    <a:moveTo>
                      <a:pt x="40" y="192"/>
                    </a:moveTo>
                    <a:lnTo>
                      <a:pt x="0" y="192"/>
                    </a:lnTo>
                    <a:lnTo>
                      <a:pt x="0" y="174"/>
                    </a:lnTo>
                    <a:lnTo>
                      <a:pt x="32" y="174"/>
                    </a:lnTo>
                    <a:lnTo>
                      <a:pt x="100" y="106"/>
                    </a:lnTo>
                    <a:lnTo>
                      <a:pt x="212" y="106"/>
                    </a:lnTo>
                    <a:lnTo>
                      <a:pt x="266" y="52"/>
                    </a:lnTo>
                    <a:lnTo>
                      <a:pt x="440" y="52"/>
                    </a:lnTo>
                    <a:lnTo>
                      <a:pt x="492" y="0"/>
                    </a:lnTo>
                    <a:lnTo>
                      <a:pt x="628" y="0"/>
                    </a:lnTo>
                    <a:lnTo>
                      <a:pt x="628" y="18"/>
                    </a:lnTo>
                    <a:lnTo>
                      <a:pt x="500" y="18"/>
                    </a:lnTo>
                    <a:lnTo>
                      <a:pt x="448" y="70"/>
                    </a:lnTo>
                    <a:lnTo>
                      <a:pt x="274" y="70"/>
                    </a:lnTo>
                    <a:lnTo>
                      <a:pt x="218" y="124"/>
                    </a:lnTo>
                    <a:lnTo>
                      <a:pt x="106" y="124"/>
                    </a:lnTo>
                    <a:lnTo>
                      <a:pt x="40" y="192"/>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85" name="Picture 84">
              <a:extLst>
                <a:ext uri="{FF2B5EF4-FFF2-40B4-BE49-F238E27FC236}">
                  <a16:creationId xmlns:a16="http://schemas.microsoft.com/office/drawing/2014/main" id="{A6B0ED69-E044-605E-7DD4-B5F61CF03F7F}"/>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53796" y="3479801"/>
              <a:ext cx="484096" cy="689670"/>
            </a:xfrm>
            <a:prstGeom prst="rect">
              <a:avLst/>
            </a:prstGeom>
          </p:spPr>
        </p:pic>
        <p:pic>
          <p:nvPicPr>
            <p:cNvPr id="86" name="Picture 85">
              <a:extLst>
                <a:ext uri="{FF2B5EF4-FFF2-40B4-BE49-F238E27FC236}">
                  <a16:creationId xmlns:a16="http://schemas.microsoft.com/office/drawing/2014/main" id="{7BE546EB-C8B5-AAF7-925C-B1C6C32D8D76}"/>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11231" y="4934175"/>
              <a:ext cx="569226" cy="534486"/>
            </a:xfrm>
            <a:prstGeom prst="rect">
              <a:avLst/>
            </a:prstGeom>
          </p:spPr>
        </p:pic>
        <p:sp>
          <p:nvSpPr>
            <p:cNvPr id="87" name="Oval 86">
              <a:extLst>
                <a:ext uri="{FF2B5EF4-FFF2-40B4-BE49-F238E27FC236}">
                  <a16:creationId xmlns:a16="http://schemas.microsoft.com/office/drawing/2014/main" id="{E860D5C3-6C35-4B4A-CAE2-81D39B349150}"/>
                </a:ext>
              </a:extLst>
            </p:cNvPr>
            <p:cNvSpPr/>
            <p:nvPr/>
          </p:nvSpPr>
          <p:spPr>
            <a:xfrm>
              <a:off x="706821" y="1954362"/>
              <a:ext cx="978046" cy="978046"/>
            </a:xfrm>
            <a:prstGeom prst="ellipse">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89" name="Oval 88">
              <a:extLst>
                <a:ext uri="{FF2B5EF4-FFF2-40B4-BE49-F238E27FC236}">
                  <a16:creationId xmlns:a16="http://schemas.microsoft.com/office/drawing/2014/main" id="{88E16406-B3B8-02A5-87F4-50E5D1EF91F8}"/>
                </a:ext>
              </a:extLst>
            </p:cNvPr>
            <p:cNvSpPr/>
            <p:nvPr/>
          </p:nvSpPr>
          <p:spPr>
            <a:xfrm>
              <a:off x="706821" y="3335612"/>
              <a:ext cx="978046" cy="978046"/>
            </a:xfrm>
            <a:prstGeom prst="ellipse">
              <a:avLst/>
            </a:prstGeom>
            <a:noFill/>
            <a:ln w="9525">
              <a:solidFill>
                <a:schemeClr val="bg1"/>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90" name="Oval 89">
              <a:extLst>
                <a:ext uri="{FF2B5EF4-FFF2-40B4-BE49-F238E27FC236}">
                  <a16:creationId xmlns:a16="http://schemas.microsoft.com/office/drawing/2014/main" id="{E6001827-8A12-E934-699E-1D4B64E5F876}"/>
                </a:ext>
              </a:extLst>
            </p:cNvPr>
            <p:cNvSpPr/>
            <p:nvPr/>
          </p:nvSpPr>
          <p:spPr>
            <a:xfrm>
              <a:off x="706821" y="4712395"/>
              <a:ext cx="978046" cy="978046"/>
            </a:xfrm>
            <a:prstGeom prst="ellipse">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spTree>
    <p:extLst>
      <p:ext uri="{BB962C8B-B14F-4D97-AF65-F5344CB8AC3E}">
        <p14:creationId xmlns:p14="http://schemas.microsoft.com/office/powerpoint/2010/main" val="42348972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255101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p:txBody>
          <a:bodyPr/>
          <a:lstStyle/>
          <a:p>
            <a:r>
              <a:rPr lang="en-US" dirty="0">
                <a:solidFill>
                  <a:srgbClr val="FFE600"/>
                </a:solidFill>
              </a:rPr>
              <a:t>The history of legal AI</a:t>
            </a:r>
            <a:r>
              <a:rPr lang="en-US" dirty="0"/>
              <a:t> follows a similar path as the wider economy — with new technologies creating new opportunities</a:t>
            </a:r>
          </a:p>
        </p:txBody>
      </p:sp>
      <p:grpSp>
        <p:nvGrpSpPr>
          <p:cNvPr id="25" name="Group 24">
            <a:extLst>
              <a:ext uri="{FF2B5EF4-FFF2-40B4-BE49-F238E27FC236}">
                <a16:creationId xmlns:a16="http://schemas.microsoft.com/office/drawing/2014/main" id="{443BE1F0-096E-734F-5BB2-A49F03961131}"/>
              </a:ext>
            </a:extLst>
          </p:cNvPr>
          <p:cNvGrpSpPr/>
          <p:nvPr/>
        </p:nvGrpSpPr>
        <p:grpSpPr>
          <a:xfrm>
            <a:off x="608203" y="1875419"/>
            <a:ext cx="10981944" cy="4220581"/>
            <a:chOff x="608203" y="1875419"/>
            <a:chExt cx="10981944" cy="4220581"/>
          </a:xfrm>
        </p:grpSpPr>
        <p:grpSp>
          <p:nvGrpSpPr>
            <p:cNvPr id="23" name="Group 22">
              <a:extLst>
                <a:ext uri="{FF2B5EF4-FFF2-40B4-BE49-F238E27FC236}">
                  <a16:creationId xmlns:a16="http://schemas.microsoft.com/office/drawing/2014/main" id="{CD5AF98D-6423-9436-3896-5E5A5C6D06E0}"/>
                </a:ext>
              </a:extLst>
            </p:cNvPr>
            <p:cNvGrpSpPr/>
            <p:nvPr/>
          </p:nvGrpSpPr>
          <p:grpSpPr>
            <a:xfrm>
              <a:off x="1393981" y="1875419"/>
              <a:ext cx="4611882" cy="801861"/>
              <a:chOff x="1393981" y="1731130"/>
              <a:chExt cx="4611882" cy="801861"/>
            </a:xfrm>
          </p:grpSpPr>
          <p:sp>
            <p:nvSpPr>
              <p:cNvPr id="16" name="AutoShape 15">
                <a:extLst>
                  <a:ext uri="{FF2B5EF4-FFF2-40B4-BE49-F238E27FC236}">
                    <a16:creationId xmlns:a16="http://schemas.microsoft.com/office/drawing/2014/main" id="{26A6BB7D-EFB0-EC0D-86A8-DD1A9042F8F1}"/>
                  </a:ext>
                </a:extLst>
              </p:cNvPr>
              <p:cNvSpPr>
                <a:spLocks noChangeAspect="1" noChangeArrowheads="1" noTextEdit="1"/>
              </p:cNvSpPr>
              <p:nvPr/>
            </p:nvSpPr>
            <p:spPr bwMode="auto">
              <a:xfrm>
                <a:off x="1393981" y="1731130"/>
                <a:ext cx="562845" cy="801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AutoShape 28">
                <a:extLst>
                  <a:ext uri="{FF2B5EF4-FFF2-40B4-BE49-F238E27FC236}">
                    <a16:creationId xmlns:a16="http://schemas.microsoft.com/office/drawing/2014/main" id="{0D4D64A4-6D1F-59CB-0FD5-80C0DA7ABA20}"/>
                  </a:ext>
                </a:extLst>
              </p:cNvPr>
              <p:cNvSpPr>
                <a:spLocks noChangeAspect="1" noChangeArrowheads="1" noTextEdit="1"/>
              </p:cNvSpPr>
              <p:nvPr/>
            </p:nvSpPr>
            <p:spPr bwMode="auto">
              <a:xfrm>
                <a:off x="5272988" y="1807778"/>
                <a:ext cx="732875" cy="649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 name="Arrow: Right 8">
              <a:extLst>
                <a:ext uri="{FF2B5EF4-FFF2-40B4-BE49-F238E27FC236}">
                  <a16:creationId xmlns:a16="http://schemas.microsoft.com/office/drawing/2014/main" id="{9DA332A0-4305-DCF0-ACC2-39E888311E92}"/>
                </a:ext>
              </a:extLst>
            </p:cNvPr>
            <p:cNvSpPr/>
            <p:nvPr/>
          </p:nvSpPr>
          <p:spPr>
            <a:xfrm>
              <a:off x="608203" y="2399990"/>
              <a:ext cx="10981944" cy="1539390"/>
            </a:xfrm>
            <a:prstGeom prst="rightArrow">
              <a:avLst>
                <a:gd name="adj1" fmla="val 37271"/>
                <a:gd name="adj2" fmla="val 53536"/>
              </a:avLst>
            </a:prstGeom>
            <a:solidFill>
              <a:srgbClr val="C4C4CD"/>
            </a:solidFill>
            <a:ln>
              <a:no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GB" dirty="0"/>
            </a:p>
          </p:txBody>
        </p:sp>
        <p:sp>
          <p:nvSpPr>
            <p:cNvPr id="10" name="Rectangle 9">
              <a:extLst>
                <a:ext uri="{FF2B5EF4-FFF2-40B4-BE49-F238E27FC236}">
                  <a16:creationId xmlns:a16="http://schemas.microsoft.com/office/drawing/2014/main" id="{50F74A37-9D51-2F82-7A97-059F4913C5E9}"/>
                </a:ext>
              </a:extLst>
            </p:cNvPr>
            <p:cNvSpPr/>
            <p:nvPr/>
          </p:nvSpPr>
          <p:spPr>
            <a:xfrm>
              <a:off x="785019" y="2706804"/>
              <a:ext cx="1780768" cy="925761"/>
            </a:xfrm>
            <a:prstGeom prst="rect">
              <a:avLst/>
            </a:prstGeom>
            <a:solidFill>
              <a:srgbClr val="74748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4794" tIns="184794" rIns="184794" bIns="184794" numCol="1" spcCol="1270" anchor="ctr" anchorCtr="0">
              <a:noAutofit/>
            </a:bodyPr>
            <a:lstStyle/>
            <a:p>
              <a:pPr marL="0" lvl="0" indent="0" algn="ctr" defTabSz="1066800">
                <a:lnSpc>
                  <a:spcPct val="90000"/>
                </a:lnSpc>
                <a:spcBef>
                  <a:spcPct val="0"/>
                </a:spcBef>
                <a:spcAft>
                  <a:spcPct val="35000"/>
                </a:spcAft>
                <a:buNone/>
              </a:pPr>
              <a:r>
                <a:rPr lang="en-GB" b="1" kern="1200" dirty="0"/>
                <a:t>New tools!</a:t>
              </a:r>
            </a:p>
          </p:txBody>
        </p:sp>
        <p:sp>
          <p:nvSpPr>
            <p:cNvPr id="11" name="Rectangle 10">
              <a:extLst>
                <a:ext uri="{FF2B5EF4-FFF2-40B4-BE49-F238E27FC236}">
                  <a16:creationId xmlns:a16="http://schemas.microsoft.com/office/drawing/2014/main" id="{578D9F70-584E-4758-703A-2EFC0F345E80}"/>
                </a:ext>
              </a:extLst>
            </p:cNvPr>
            <p:cNvSpPr/>
            <p:nvPr/>
          </p:nvSpPr>
          <p:spPr>
            <a:xfrm>
              <a:off x="2767030" y="2706804"/>
              <a:ext cx="1780768" cy="925761"/>
            </a:xfrm>
            <a:prstGeom prst="rect">
              <a:avLst/>
            </a:prstGeom>
            <a:solidFill>
              <a:srgbClr val="74748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4794" tIns="184794" rIns="184794" bIns="184794" numCol="1" spcCol="1270" anchor="ctr" anchorCtr="0">
              <a:noAutofit/>
            </a:bodyPr>
            <a:lstStyle/>
            <a:p>
              <a:pPr marL="0" lvl="0" indent="0" algn="ctr" defTabSz="1066800">
                <a:lnSpc>
                  <a:spcPct val="90000"/>
                </a:lnSpc>
                <a:spcBef>
                  <a:spcPct val="0"/>
                </a:spcBef>
                <a:spcAft>
                  <a:spcPct val="35000"/>
                </a:spcAft>
                <a:buNone/>
              </a:pPr>
              <a:r>
                <a:rPr lang="en-GB" b="1" kern="1200" dirty="0"/>
                <a:t>Excitement!</a:t>
              </a:r>
            </a:p>
          </p:txBody>
        </p:sp>
        <p:sp>
          <p:nvSpPr>
            <p:cNvPr id="12" name="Rectangle 11">
              <a:extLst>
                <a:ext uri="{FF2B5EF4-FFF2-40B4-BE49-F238E27FC236}">
                  <a16:creationId xmlns:a16="http://schemas.microsoft.com/office/drawing/2014/main" id="{BCFDFE77-BF7F-3EC3-AB7D-BECA4E5420C9}"/>
                </a:ext>
              </a:extLst>
            </p:cNvPr>
            <p:cNvSpPr/>
            <p:nvPr/>
          </p:nvSpPr>
          <p:spPr>
            <a:xfrm>
              <a:off x="4749041" y="2706804"/>
              <a:ext cx="1780768" cy="925761"/>
            </a:xfrm>
            <a:prstGeom prst="rect">
              <a:avLst/>
            </a:prstGeom>
            <a:solidFill>
              <a:srgbClr val="74748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4794" tIns="184794" rIns="184794" bIns="184794" numCol="1" spcCol="1270" anchor="ctr" anchorCtr="0">
              <a:noAutofit/>
            </a:bodyPr>
            <a:lstStyle/>
            <a:p>
              <a:pPr marL="0" lvl="0" indent="0" algn="ctr" defTabSz="1066800">
                <a:lnSpc>
                  <a:spcPct val="90000"/>
                </a:lnSpc>
                <a:spcBef>
                  <a:spcPct val="0"/>
                </a:spcBef>
                <a:spcAft>
                  <a:spcPct val="35000"/>
                </a:spcAft>
                <a:buNone/>
              </a:pPr>
              <a:r>
                <a:rPr lang="en-GB" b="1" kern="1200" dirty="0"/>
                <a:t>Concern</a:t>
              </a:r>
            </a:p>
          </p:txBody>
        </p:sp>
        <p:sp>
          <p:nvSpPr>
            <p:cNvPr id="13" name="Rectangle 12">
              <a:extLst>
                <a:ext uri="{FF2B5EF4-FFF2-40B4-BE49-F238E27FC236}">
                  <a16:creationId xmlns:a16="http://schemas.microsoft.com/office/drawing/2014/main" id="{02BF223D-2194-E14C-DC5E-0CB1F7FEB936}"/>
                </a:ext>
              </a:extLst>
            </p:cNvPr>
            <p:cNvSpPr/>
            <p:nvPr/>
          </p:nvSpPr>
          <p:spPr>
            <a:xfrm>
              <a:off x="6731052" y="2706804"/>
              <a:ext cx="1780768" cy="925761"/>
            </a:xfrm>
            <a:prstGeom prst="rect">
              <a:avLst/>
            </a:prstGeom>
            <a:solidFill>
              <a:srgbClr val="74748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4794" tIns="184794" rIns="184794" bIns="184794" numCol="1" spcCol="1270" anchor="ctr" anchorCtr="0">
              <a:noAutofit/>
            </a:bodyPr>
            <a:lstStyle/>
            <a:p>
              <a:pPr marL="0" lvl="0" indent="0" algn="ctr" defTabSz="1066800">
                <a:lnSpc>
                  <a:spcPct val="90000"/>
                </a:lnSpc>
                <a:spcBef>
                  <a:spcPct val="0"/>
                </a:spcBef>
                <a:spcAft>
                  <a:spcPct val="35000"/>
                </a:spcAft>
                <a:buNone/>
              </a:pPr>
              <a:r>
                <a:rPr lang="en-GB" b="1" kern="1200" dirty="0"/>
                <a:t>Adoption</a:t>
              </a:r>
            </a:p>
          </p:txBody>
        </p:sp>
        <p:sp>
          <p:nvSpPr>
            <p:cNvPr id="14" name="Rectangle 13">
              <a:extLst>
                <a:ext uri="{FF2B5EF4-FFF2-40B4-BE49-F238E27FC236}">
                  <a16:creationId xmlns:a16="http://schemas.microsoft.com/office/drawing/2014/main" id="{A91536E4-A4A4-0B4A-8929-EB5E7FCAC1EC}"/>
                </a:ext>
              </a:extLst>
            </p:cNvPr>
            <p:cNvSpPr/>
            <p:nvPr/>
          </p:nvSpPr>
          <p:spPr>
            <a:xfrm>
              <a:off x="8713062" y="2706804"/>
              <a:ext cx="1780768" cy="925761"/>
            </a:xfrm>
            <a:prstGeom prst="rect">
              <a:avLst/>
            </a:prstGeom>
            <a:solidFill>
              <a:srgbClr val="74748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4794" tIns="184794" rIns="184794" bIns="184794" numCol="1" spcCol="1270" anchor="ctr" anchorCtr="0">
              <a:noAutofit/>
            </a:bodyPr>
            <a:lstStyle/>
            <a:p>
              <a:pPr marL="0" lvl="0" indent="0" algn="ctr" defTabSz="1066800">
                <a:lnSpc>
                  <a:spcPct val="90000"/>
                </a:lnSpc>
                <a:spcBef>
                  <a:spcPct val="0"/>
                </a:spcBef>
                <a:spcAft>
                  <a:spcPct val="35000"/>
                </a:spcAft>
                <a:buNone/>
              </a:pPr>
              <a:r>
                <a:rPr lang="en-GB" b="1" kern="1200" dirty="0"/>
                <a:t>New normal</a:t>
              </a:r>
            </a:p>
          </p:txBody>
        </p:sp>
        <p:sp>
          <p:nvSpPr>
            <p:cNvPr id="78" name="TextBox 77">
              <a:extLst>
                <a:ext uri="{FF2B5EF4-FFF2-40B4-BE49-F238E27FC236}">
                  <a16:creationId xmlns:a16="http://schemas.microsoft.com/office/drawing/2014/main" id="{53E8230B-0F69-F62C-8EF2-47CAE54FD00C}"/>
                </a:ext>
              </a:extLst>
            </p:cNvPr>
            <p:cNvSpPr txBox="1"/>
            <p:nvPr/>
          </p:nvSpPr>
          <p:spPr>
            <a:xfrm>
              <a:off x="2716791" y="3989263"/>
              <a:ext cx="2730549" cy="564017"/>
            </a:xfrm>
            <a:prstGeom prst="rect">
              <a:avLst/>
            </a:prstGeom>
            <a:solidFill>
              <a:schemeClr val="tx1"/>
            </a:solidFill>
          </p:spPr>
          <p:txBody>
            <a:bodyPr wrap="square" lIns="91440" tIns="91440" rIns="91440" bIns="91440" rtlCol="0">
              <a:spAutoFit/>
            </a:bodyPr>
            <a:lstStyle/>
            <a:p>
              <a:pPr algn="r">
                <a:lnSpc>
                  <a:spcPct val="85000"/>
                </a:lnSpc>
                <a:spcAft>
                  <a:spcPts val="600"/>
                </a:spcAft>
                <a:buClr>
                  <a:schemeClr val="accent2"/>
                </a:buClr>
                <a:buSzPct val="70000"/>
              </a:pPr>
              <a:r>
                <a:rPr lang="en-GB" sz="1600" dirty="0">
                  <a:solidFill>
                    <a:schemeClr val="bg1"/>
                  </a:solidFill>
                </a:rPr>
                <a:t>How will we train the next generation of lawyers?</a:t>
              </a:r>
            </a:p>
          </p:txBody>
        </p:sp>
        <p:sp>
          <p:nvSpPr>
            <p:cNvPr id="80" name="TextBox 79">
              <a:extLst>
                <a:ext uri="{FF2B5EF4-FFF2-40B4-BE49-F238E27FC236}">
                  <a16:creationId xmlns:a16="http://schemas.microsoft.com/office/drawing/2014/main" id="{B7D944AE-5C5F-E732-BC7E-DA98AFF7725D}"/>
                </a:ext>
              </a:extLst>
            </p:cNvPr>
            <p:cNvSpPr txBox="1"/>
            <p:nvPr/>
          </p:nvSpPr>
          <p:spPr>
            <a:xfrm>
              <a:off x="2711397" y="4716453"/>
              <a:ext cx="2730549" cy="564017"/>
            </a:xfrm>
            <a:prstGeom prst="rect">
              <a:avLst/>
            </a:prstGeom>
            <a:solidFill>
              <a:schemeClr val="tx1"/>
            </a:solidFill>
          </p:spPr>
          <p:txBody>
            <a:bodyPr wrap="square" lIns="91440" tIns="91440" rIns="91440" bIns="91440" rtlCol="0">
              <a:spAutoFit/>
            </a:bodyPr>
            <a:lstStyle/>
            <a:p>
              <a:pPr algn="r">
                <a:lnSpc>
                  <a:spcPct val="85000"/>
                </a:lnSpc>
                <a:spcAft>
                  <a:spcPts val="600"/>
                </a:spcAft>
                <a:buClr>
                  <a:schemeClr val="accent2"/>
                </a:buClr>
                <a:buSzPct val="70000"/>
              </a:pPr>
              <a:r>
                <a:rPr lang="en-GB" sz="1600" dirty="0">
                  <a:solidFill>
                    <a:schemeClr val="bg1"/>
                  </a:solidFill>
                </a:rPr>
                <a:t>The business model of law will break!</a:t>
              </a:r>
            </a:p>
          </p:txBody>
        </p:sp>
        <p:sp>
          <p:nvSpPr>
            <p:cNvPr id="81" name="TextBox 80">
              <a:extLst>
                <a:ext uri="{FF2B5EF4-FFF2-40B4-BE49-F238E27FC236}">
                  <a16:creationId xmlns:a16="http://schemas.microsoft.com/office/drawing/2014/main" id="{9CD0F0BF-9BC6-4E66-30AD-0B6D3ED7923E}"/>
                </a:ext>
              </a:extLst>
            </p:cNvPr>
            <p:cNvSpPr txBox="1"/>
            <p:nvPr/>
          </p:nvSpPr>
          <p:spPr>
            <a:xfrm>
              <a:off x="2716793" y="5443644"/>
              <a:ext cx="2730549" cy="603242"/>
            </a:xfrm>
            <a:prstGeom prst="rect">
              <a:avLst/>
            </a:prstGeom>
            <a:solidFill>
              <a:schemeClr val="tx1"/>
            </a:solidFill>
          </p:spPr>
          <p:txBody>
            <a:bodyPr wrap="square" lIns="91440" tIns="91440" rIns="91440" bIns="91440" rtlCol="0">
              <a:spAutoFit/>
            </a:bodyPr>
            <a:lstStyle/>
            <a:p>
              <a:pPr algn="r">
                <a:lnSpc>
                  <a:spcPct val="85000"/>
                </a:lnSpc>
                <a:spcAft>
                  <a:spcPts val="600"/>
                </a:spcAft>
                <a:buClr>
                  <a:schemeClr val="accent2"/>
                </a:buClr>
                <a:buSzPct val="70000"/>
              </a:pPr>
              <a:r>
                <a:rPr lang="en-GB" sz="1600" dirty="0">
                  <a:solidFill>
                    <a:schemeClr val="bg1"/>
                  </a:solidFill>
                </a:rPr>
                <a:t>Can AI perform discovery as well as a trained lawyer?</a:t>
              </a:r>
            </a:p>
          </p:txBody>
        </p:sp>
        <p:grpSp>
          <p:nvGrpSpPr>
            <p:cNvPr id="24" name="Group 23">
              <a:extLst>
                <a:ext uri="{FF2B5EF4-FFF2-40B4-BE49-F238E27FC236}">
                  <a16:creationId xmlns:a16="http://schemas.microsoft.com/office/drawing/2014/main" id="{94364A1F-CB47-2CFA-924E-1DB162251108}"/>
                </a:ext>
              </a:extLst>
            </p:cNvPr>
            <p:cNvGrpSpPr/>
            <p:nvPr/>
          </p:nvGrpSpPr>
          <p:grpSpPr>
            <a:xfrm>
              <a:off x="5639425" y="3537223"/>
              <a:ext cx="1982011" cy="2558777"/>
              <a:chOff x="5639425" y="3537223"/>
              <a:chExt cx="1982011" cy="2560320"/>
            </a:xfrm>
          </p:grpSpPr>
          <p:cxnSp>
            <p:nvCxnSpPr>
              <p:cNvPr id="77" name="Straight Connector 76">
                <a:extLst>
                  <a:ext uri="{FF2B5EF4-FFF2-40B4-BE49-F238E27FC236}">
                    <a16:creationId xmlns:a16="http://schemas.microsoft.com/office/drawing/2014/main" id="{6CC758EA-12CA-55C9-5CB0-D2FB1188D071}"/>
                  </a:ext>
                </a:extLst>
              </p:cNvPr>
              <p:cNvCxnSpPr>
                <a:cxnSpLocks/>
              </p:cNvCxnSpPr>
              <p:nvPr/>
            </p:nvCxnSpPr>
            <p:spPr>
              <a:xfrm>
                <a:off x="5639425" y="3537223"/>
                <a:ext cx="0" cy="2560320"/>
              </a:xfrm>
              <a:prstGeom prst="line">
                <a:avLst/>
              </a:prstGeom>
              <a:ln w="57150">
                <a:solidFill>
                  <a:srgbClr val="747480"/>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1E71228-1D2F-3A85-F1A0-6DA00A5D834C}"/>
                  </a:ext>
                </a:extLst>
              </p:cNvPr>
              <p:cNvCxnSpPr>
                <a:cxnSpLocks/>
              </p:cNvCxnSpPr>
              <p:nvPr/>
            </p:nvCxnSpPr>
            <p:spPr>
              <a:xfrm>
                <a:off x="7621436" y="3537223"/>
                <a:ext cx="0" cy="2560320"/>
              </a:xfrm>
              <a:prstGeom prst="line">
                <a:avLst/>
              </a:prstGeom>
              <a:ln w="57150">
                <a:solidFill>
                  <a:srgbClr val="747480"/>
                </a:solidFill>
                <a:tailEnd type="none"/>
              </a:ln>
            </p:spPr>
            <p:style>
              <a:lnRef idx="1">
                <a:schemeClr val="accent1"/>
              </a:lnRef>
              <a:fillRef idx="0">
                <a:schemeClr val="accent1"/>
              </a:fillRef>
              <a:effectRef idx="0">
                <a:schemeClr val="accent1"/>
              </a:effectRef>
              <a:fontRef idx="minor">
                <a:schemeClr val="tx1"/>
              </a:fontRef>
            </p:style>
          </p:cxnSp>
        </p:grpSp>
        <p:sp>
          <p:nvSpPr>
            <p:cNvPr id="84" name="TextBox 83">
              <a:extLst>
                <a:ext uri="{FF2B5EF4-FFF2-40B4-BE49-F238E27FC236}">
                  <a16:creationId xmlns:a16="http://schemas.microsoft.com/office/drawing/2014/main" id="{25E4F46B-04FE-19CB-458E-A7C40CA7685F}"/>
                </a:ext>
              </a:extLst>
            </p:cNvPr>
            <p:cNvSpPr txBox="1"/>
            <p:nvPr/>
          </p:nvSpPr>
          <p:spPr>
            <a:xfrm>
              <a:off x="6256161" y="3974522"/>
              <a:ext cx="2730549" cy="368337"/>
            </a:xfrm>
            <a:prstGeom prst="rect">
              <a:avLst/>
            </a:prstGeom>
            <a:solidFill>
              <a:schemeClr val="tx1"/>
            </a:solidFill>
          </p:spPr>
          <p:txBody>
            <a:bodyPr wrap="square" lIns="91440" tIns="91440" rIns="91440" bIns="91440" rtlCol="0">
              <a:spAutoFit/>
            </a:bodyPr>
            <a:lstStyle/>
            <a:p>
              <a:pPr algn="ctr">
                <a:lnSpc>
                  <a:spcPct val="85000"/>
                </a:lnSpc>
                <a:spcAft>
                  <a:spcPts val="600"/>
                </a:spcAft>
                <a:buClr>
                  <a:schemeClr val="accent2"/>
                </a:buClr>
                <a:buSzPct val="70000"/>
              </a:pPr>
              <a:r>
                <a:rPr lang="en-GB" sz="1600" dirty="0">
                  <a:solidFill>
                    <a:schemeClr val="bg1"/>
                  </a:solidFill>
                </a:rPr>
                <a:t>New technologies</a:t>
              </a:r>
            </a:p>
          </p:txBody>
        </p:sp>
        <p:sp>
          <p:nvSpPr>
            <p:cNvPr id="86" name="TextBox 85">
              <a:extLst>
                <a:ext uri="{FF2B5EF4-FFF2-40B4-BE49-F238E27FC236}">
                  <a16:creationId xmlns:a16="http://schemas.microsoft.com/office/drawing/2014/main" id="{98EFFE1D-F81E-8BA7-DF82-1C19693F2122}"/>
                </a:ext>
              </a:extLst>
            </p:cNvPr>
            <p:cNvSpPr txBox="1"/>
            <p:nvPr/>
          </p:nvSpPr>
          <p:spPr>
            <a:xfrm>
              <a:off x="6256161" y="4496843"/>
              <a:ext cx="2730549" cy="368337"/>
            </a:xfrm>
            <a:prstGeom prst="rect">
              <a:avLst/>
            </a:prstGeom>
            <a:solidFill>
              <a:schemeClr val="tx1"/>
            </a:solidFill>
          </p:spPr>
          <p:txBody>
            <a:bodyPr wrap="square" lIns="91440" tIns="91440" rIns="91440" bIns="91440" rtlCol="0">
              <a:spAutoFit/>
            </a:bodyPr>
            <a:lstStyle/>
            <a:p>
              <a:pPr algn="ctr">
                <a:lnSpc>
                  <a:spcPct val="85000"/>
                </a:lnSpc>
                <a:spcAft>
                  <a:spcPts val="600"/>
                </a:spcAft>
                <a:buClr>
                  <a:schemeClr val="accent2"/>
                </a:buClr>
                <a:buSzPct val="70000"/>
              </a:pPr>
              <a:r>
                <a:rPr lang="en-GB" sz="1600" dirty="0">
                  <a:solidFill>
                    <a:schemeClr val="bg1"/>
                  </a:solidFill>
                </a:rPr>
                <a:t>New business models</a:t>
              </a:r>
            </a:p>
          </p:txBody>
        </p:sp>
        <p:sp>
          <p:nvSpPr>
            <p:cNvPr id="88" name="TextBox 87">
              <a:extLst>
                <a:ext uri="{FF2B5EF4-FFF2-40B4-BE49-F238E27FC236}">
                  <a16:creationId xmlns:a16="http://schemas.microsoft.com/office/drawing/2014/main" id="{E8541878-8185-F603-A8C3-14339829DCC0}"/>
                </a:ext>
              </a:extLst>
            </p:cNvPr>
            <p:cNvSpPr txBox="1"/>
            <p:nvPr/>
          </p:nvSpPr>
          <p:spPr>
            <a:xfrm>
              <a:off x="6256161" y="5019164"/>
              <a:ext cx="2730549" cy="368337"/>
            </a:xfrm>
            <a:prstGeom prst="rect">
              <a:avLst/>
            </a:prstGeom>
            <a:solidFill>
              <a:schemeClr val="tx1"/>
            </a:solidFill>
          </p:spPr>
          <p:txBody>
            <a:bodyPr wrap="square" lIns="91440" tIns="91440" rIns="91440" bIns="91440" rtlCol="0">
              <a:spAutoFit/>
            </a:bodyPr>
            <a:lstStyle/>
            <a:p>
              <a:pPr algn="ctr">
                <a:lnSpc>
                  <a:spcPct val="85000"/>
                </a:lnSpc>
                <a:spcAft>
                  <a:spcPts val="600"/>
                </a:spcAft>
                <a:buClr>
                  <a:schemeClr val="accent2"/>
                </a:buClr>
                <a:buSzPct val="70000"/>
              </a:pPr>
              <a:r>
                <a:rPr lang="en-GB" sz="1600" dirty="0">
                  <a:solidFill>
                    <a:schemeClr val="bg1"/>
                  </a:solidFill>
                </a:rPr>
                <a:t>New partnerships</a:t>
              </a:r>
            </a:p>
          </p:txBody>
        </p:sp>
        <p:sp>
          <p:nvSpPr>
            <p:cNvPr id="89" name="TextBox 88">
              <a:extLst>
                <a:ext uri="{FF2B5EF4-FFF2-40B4-BE49-F238E27FC236}">
                  <a16:creationId xmlns:a16="http://schemas.microsoft.com/office/drawing/2014/main" id="{5826B146-9C63-DC07-C06D-8F74C0BCAE8B}"/>
                </a:ext>
              </a:extLst>
            </p:cNvPr>
            <p:cNvSpPr txBox="1"/>
            <p:nvPr/>
          </p:nvSpPr>
          <p:spPr>
            <a:xfrm>
              <a:off x="6256161" y="5541484"/>
              <a:ext cx="2730549" cy="368337"/>
            </a:xfrm>
            <a:prstGeom prst="rect">
              <a:avLst/>
            </a:prstGeom>
            <a:solidFill>
              <a:schemeClr val="tx1"/>
            </a:solidFill>
          </p:spPr>
          <p:txBody>
            <a:bodyPr wrap="square" lIns="91440" tIns="91440" rIns="91440" bIns="91440" rtlCol="0">
              <a:spAutoFit/>
            </a:bodyPr>
            <a:lstStyle/>
            <a:p>
              <a:pPr algn="ctr">
                <a:lnSpc>
                  <a:spcPct val="85000"/>
                </a:lnSpc>
                <a:spcAft>
                  <a:spcPts val="600"/>
                </a:spcAft>
                <a:buClr>
                  <a:schemeClr val="accent2"/>
                </a:buClr>
                <a:buSzPct val="70000"/>
              </a:pPr>
              <a:r>
                <a:rPr lang="en-GB" sz="1600" dirty="0">
                  <a:solidFill>
                    <a:schemeClr val="bg1"/>
                  </a:solidFill>
                </a:rPr>
                <a:t>New operational models </a:t>
              </a:r>
            </a:p>
          </p:txBody>
        </p:sp>
      </p:grpSp>
      <p:grpSp>
        <p:nvGrpSpPr>
          <p:cNvPr id="8" name="Group 7">
            <a:extLst>
              <a:ext uri="{FF2B5EF4-FFF2-40B4-BE49-F238E27FC236}">
                <a16:creationId xmlns:a16="http://schemas.microsoft.com/office/drawing/2014/main" id="{49D87DDC-C09D-F17B-694C-5A85BD6F9656}"/>
              </a:ext>
            </a:extLst>
          </p:cNvPr>
          <p:cNvGrpSpPr/>
          <p:nvPr/>
        </p:nvGrpSpPr>
        <p:grpSpPr>
          <a:xfrm>
            <a:off x="608203" y="1195254"/>
            <a:ext cx="10981944" cy="457200"/>
            <a:chOff x="608203" y="1195254"/>
            <a:chExt cx="10981944" cy="502920"/>
          </a:xfrm>
        </p:grpSpPr>
        <p:cxnSp>
          <p:nvCxnSpPr>
            <p:cNvPr id="18" name="Straight Connector 17">
              <a:extLst>
                <a:ext uri="{FF2B5EF4-FFF2-40B4-BE49-F238E27FC236}">
                  <a16:creationId xmlns:a16="http://schemas.microsoft.com/office/drawing/2014/main" id="{0C35195D-0F40-72E6-098E-6FD10EBEDBFC}"/>
                </a:ext>
              </a:extLst>
            </p:cNvPr>
            <p:cNvCxnSpPr>
              <a:cxnSpLocks/>
            </p:cNvCxnSpPr>
            <p:nvPr/>
          </p:nvCxnSpPr>
          <p:spPr>
            <a:xfrm>
              <a:off x="608203" y="1446714"/>
              <a:ext cx="10981944" cy="0"/>
            </a:xfrm>
            <a:prstGeom prst="line">
              <a:avLst/>
            </a:prstGeom>
            <a:ln w="9525">
              <a:solidFill>
                <a:srgbClr val="C4C4CD"/>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0C2F8A1-6C1A-258B-87A8-F78D6162ECB1}"/>
                </a:ext>
              </a:extLst>
            </p:cNvPr>
            <p:cNvSpPr txBox="1"/>
            <p:nvPr/>
          </p:nvSpPr>
          <p:spPr>
            <a:xfrm>
              <a:off x="1465040" y="1195254"/>
              <a:ext cx="9268274" cy="502920"/>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IN" sz="1600" b="1" dirty="0">
                  <a:solidFill>
                    <a:schemeClr val="tx1">
                      <a:lumMod val="100000"/>
                    </a:schemeClr>
                  </a:solidFill>
                </a:rPr>
                <a:t>The path of the e-discovery revolution is useful when thinking about how AI may develop </a:t>
              </a:r>
              <a:endParaRPr lang="en-GB" sz="1600" dirty="0">
                <a:solidFill>
                  <a:schemeClr val="tx1">
                    <a:lumMod val="100000"/>
                  </a:schemeClr>
                </a:solidFill>
              </a:endParaRPr>
            </a:p>
          </p:txBody>
        </p:sp>
      </p:grpSp>
    </p:spTree>
    <p:extLst>
      <p:ext uri="{BB962C8B-B14F-4D97-AF65-F5344CB8AC3E}">
        <p14:creationId xmlns:p14="http://schemas.microsoft.com/office/powerpoint/2010/main" val="22300597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212CE4C-84FF-ECD0-C154-78D1C33B09CA}"/>
              </a:ext>
            </a:extLst>
          </p:cNvPr>
          <p:cNvGraphicFramePr>
            <a:graphicFrameLocks noChangeAspect="1"/>
          </p:cNvGraphicFramePr>
          <p:nvPr>
            <p:custDataLst>
              <p:tags r:id="rId1"/>
            </p:custDataLst>
            <p:extLst>
              <p:ext uri="{D42A27DB-BD31-4B8C-83A1-F6EECF244321}">
                <p14:modId xmlns:p14="http://schemas.microsoft.com/office/powerpoint/2010/main" val="1754738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28" imgH="328" progId="TCLayout.ActiveDocument.1">
                  <p:embed/>
                </p:oleObj>
              </mc:Choice>
              <mc:Fallback>
                <p:oleObj name="think-cell Slide" r:id="rId9" imgW="328" imgH="328" progId="TCLayout.ActiveDocument.1">
                  <p:embed/>
                  <p:pic>
                    <p:nvPicPr>
                      <p:cNvPr id="7" name="Object 6" hidden="1">
                        <a:extLst>
                          <a:ext uri="{FF2B5EF4-FFF2-40B4-BE49-F238E27FC236}">
                            <a16:creationId xmlns:a16="http://schemas.microsoft.com/office/drawing/2014/main" id="{4212CE4C-84FF-ECD0-C154-78D1C33B09C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875B15-BCF8-D8FA-8A78-9E7B44F1D53B}"/>
              </a:ext>
            </a:extLst>
          </p:cNvPr>
          <p:cNvSpPr>
            <a:spLocks noGrp="1"/>
          </p:cNvSpPr>
          <p:nvPr>
            <p:ph type="title"/>
          </p:nvPr>
        </p:nvSpPr>
        <p:spPr/>
        <p:txBody>
          <a:bodyPr/>
          <a:lstStyle/>
          <a:p>
            <a:r>
              <a:rPr lang="en-US" dirty="0">
                <a:solidFill>
                  <a:srgbClr val="FFE600"/>
                </a:solidFill>
              </a:rPr>
              <a:t>Legal’s tech challenges: </a:t>
            </a:r>
            <a:r>
              <a:rPr lang="en-US" dirty="0"/>
              <a:t>While law department leaders believe technology has significant potential, they have struggled to realize it</a:t>
            </a:r>
          </a:p>
        </p:txBody>
      </p:sp>
      <p:graphicFrame>
        <p:nvGraphicFramePr>
          <p:cNvPr id="6" name="Chart 5">
            <a:extLst>
              <a:ext uri="{FF2B5EF4-FFF2-40B4-BE49-F238E27FC236}">
                <a16:creationId xmlns:a16="http://schemas.microsoft.com/office/drawing/2014/main" id="{2862D5B2-7050-ACF4-86BD-D85880EA203C}"/>
              </a:ext>
            </a:extLst>
          </p:cNvPr>
          <p:cNvGraphicFramePr/>
          <p:nvPr>
            <p:custDataLst>
              <p:tags r:id="rId2"/>
            </p:custDataLst>
            <p:extLst>
              <p:ext uri="{D42A27DB-BD31-4B8C-83A1-F6EECF244321}">
                <p14:modId xmlns:p14="http://schemas.microsoft.com/office/powerpoint/2010/main" val="3039219413"/>
              </p:ext>
            </p:extLst>
          </p:nvPr>
        </p:nvGraphicFramePr>
        <p:xfrm>
          <a:off x="2844800" y="1845857"/>
          <a:ext cx="2932888" cy="3958043"/>
        </p:xfrm>
        <a:graphic>
          <a:graphicData uri="http://schemas.openxmlformats.org/drawingml/2006/chart">
            <c:chart xmlns:c="http://schemas.openxmlformats.org/drawingml/2006/chart" xmlns:r="http://schemas.openxmlformats.org/officeDocument/2006/relationships" r:id="rId11"/>
          </a:graphicData>
        </a:graphic>
      </p:graphicFrame>
      <p:sp>
        <p:nvSpPr>
          <p:cNvPr id="8" name="Text Placeholder 2">
            <a:extLst>
              <a:ext uri="{FF2B5EF4-FFF2-40B4-BE49-F238E27FC236}">
                <a16:creationId xmlns:a16="http://schemas.microsoft.com/office/drawing/2014/main" id="{C4EA50FC-F52D-6397-69DF-B0E7C97402BC}"/>
              </a:ext>
            </a:extLst>
          </p:cNvPr>
          <p:cNvSpPr>
            <a:spLocks noGrp="1"/>
          </p:cNvSpPr>
          <p:nvPr>
            <p:custDataLst>
              <p:tags r:id="rId3"/>
            </p:custDataLst>
          </p:nvPr>
        </p:nvSpPr>
        <p:spPr bwMode="auto">
          <a:xfrm>
            <a:off x="608015" y="3713643"/>
            <a:ext cx="2286000" cy="18894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278B299E-0764-4FF7-8F95-4A50FD2D291C}" type="datetime'O''''''ptim''''''''i''zing ''pr''''''oc''''''''es''''s''e''s'">
              <a:rPr lang="en-US" altLang="en-US" sz="1400" smtClean="0"/>
              <a:pPr/>
              <a:t>Optimizing processes</a:t>
            </a:fld>
            <a:endParaRPr lang="en-US" sz="1400" dirty="0">
              <a:latin typeface="+mn-lt"/>
            </a:endParaRPr>
          </a:p>
        </p:txBody>
      </p:sp>
      <p:sp>
        <p:nvSpPr>
          <p:cNvPr id="9" name="Text Placeholder 2">
            <a:extLst>
              <a:ext uri="{FF2B5EF4-FFF2-40B4-BE49-F238E27FC236}">
                <a16:creationId xmlns:a16="http://schemas.microsoft.com/office/drawing/2014/main" id="{1338ED07-DED2-B1C7-278E-AF0C95CEA332}"/>
              </a:ext>
            </a:extLst>
          </p:cNvPr>
          <p:cNvSpPr>
            <a:spLocks noGrp="1"/>
          </p:cNvSpPr>
          <p:nvPr>
            <p:custDataLst>
              <p:tags r:id="rId4"/>
            </p:custDataLst>
          </p:nvPr>
        </p:nvSpPr>
        <p:spPr bwMode="auto">
          <a:xfrm>
            <a:off x="608015" y="2181543"/>
            <a:ext cx="2286000" cy="18894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3FD6000A-8ECC-4E34-A2DA-6AB2944A454B}" type="datetime'Gr''''ea''t''''''''''er u''''se of tech''nol''o''''''gy'''''''">
              <a:rPr lang="en-US" altLang="en-US" sz="1400" smtClean="0"/>
              <a:pPr/>
              <a:t>Greater use of technology</a:t>
            </a:fld>
            <a:endParaRPr lang="en-US" sz="1400" dirty="0">
              <a:latin typeface="+mn-lt"/>
            </a:endParaRPr>
          </a:p>
        </p:txBody>
      </p:sp>
      <p:sp>
        <p:nvSpPr>
          <p:cNvPr id="10" name="Text Placeholder 2">
            <a:extLst>
              <a:ext uri="{FF2B5EF4-FFF2-40B4-BE49-F238E27FC236}">
                <a16:creationId xmlns:a16="http://schemas.microsoft.com/office/drawing/2014/main" id="{C9A360D5-9680-BE91-8744-3951D9E2BD67}"/>
              </a:ext>
            </a:extLst>
          </p:cNvPr>
          <p:cNvSpPr>
            <a:spLocks noGrp="1"/>
          </p:cNvSpPr>
          <p:nvPr>
            <p:custDataLst>
              <p:tags r:id="rId5"/>
            </p:custDataLst>
          </p:nvPr>
        </p:nvSpPr>
        <p:spPr bwMode="auto">
          <a:xfrm>
            <a:off x="608015" y="2947593"/>
            <a:ext cx="2286000" cy="18894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0C90C49C-8DAE-415A-9071-7EFEA8508502}" type="datetime'''I''''''n''''so''urc''''''''i''''''''''''n''g ''ta''''sks'">
              <a:rPr lang="en-US" altLang="en-US" sz="1400" smtClean="0"/>
              <a:pPr/>
              <a:t>Insourcing tasks</a:t>
            </a:fld>
            <a:endParaRPr lang="en-US" sz="1400" dirty="0">
              <a:latin typeface="+mn-lt"/>
            </a:endParaRPr>
          </a:p>
        </p:txBody>
      </p:sp>
      <p:sp>
        <p:nvSpPr>
          <p:cNvPr id="11" name="Text Placeholder 2">
            <a:extLst>
              <a:ext uri="{FF2B5EF4-FFF2-40B4-BE49-F238E27FC236}">
                <a16:creationId xmlns:a16="http://schemas.microsoft.com/office/drawing/2014/main" id="{AECDA869-2447-ED50-6796-60190141F973}"/>
              </a:ext>
            </a:extLst>
          </p:cNvPr>
          <p:cNvSpPr>
            <a:spLocks noGrp="1"/>
          </p:cNvSpPr>
          <p:nvPr>
            <p:custDataLst>
              <p:tags r:id="rId6"/>
            </p:custDataLst>
          </p:nvPr>
        </p:nvSpPr>
        <p:spPr bwMode="auto">
          <a:xfrm>
            <a:off x="608015" y="4479693"/>
            <a:ext cx="2286000" cy="18894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9CF4E358-037A-49B8-8FC6-2FEA3B359051}" type="datetime'U''sin''g'' f''''ew''er'''''' p''''''rovi''''''''der''''''s'">
              <a:rPr lang="en-US" altLang="en-US" sz="1400" smtClean="0"/>
              <a:pPr/>
              <a:t>Using fewer providers</a:t>
            </a:fld>
            <a:endParaRPr lang="en-US" sz="1400" dirty="0">
              <a:latin typeface="+mn-lt"/>
            </a:endParaRPr>
          </a:p>
        </p:txBody>
      </p:sp>
      <p:sp>
        <p:nvSpPr>
          <p:cNvPr id="12" name="Text Placeholder 2">
            <a:extLst>
              <a:ext uri="{FF2B5EF4-FFF2-40B4-BE49-F238E27FC236}">
                <a16:creationId xmlns:a16="http://schemas.microsoft.com/office/drawing/2014/main" id="{9BC11BCE-61FD-1296-4875-D0B412A3D478}"/>
              </a:ext>
            </a:extLst>
          </p:cNvPr>
          <p:cNvSpPr>
            <a:spLocks noGrp="1"/>
          </p:cNvSpPr>
          <p:nvPr>
            <p:custDataLst>
              <p:tags r:id="rId7"/>
            </p:custDataLst>
          </p:nvPr>
        </p:nvSpPr>
        <p:spPr bwMode="auto">
          <a:xfrm>
            <a:off x="608015" y="5245742"/>
            <a:ext cx="2286000" cy="18894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ct val="0"/>
              </a:spcBef>
              <a:spcAft>
                <a:spcPct val="0"/>
              </a:spcAft>
              <a:buNone/>
            </a:pPr>
            <a:fld id="{D04A1D74-3044-47CA-8327-841658416CC0}" type="datetime'N''e''''''''g''o''ti''''''ating ''b''e''t''t''e''''r r''ates'">
              <a:rPr lang="en-US" altLang="en-US" sz="1400" smtClean="0"/>
              <a:pPr/>
              <a:t>Negotiating better rates</a:t>
            </a:fld>
            <a:endParaRPr lang="en-US" sz="1400" dirty="0">
              <a:latin typeface="+mn-lt"/>
            </a:endParaRPr>
          </a:p>
        </p:txBody>
      </p:sp>
      <p:cxnSp>
        <p:nvCxnSpPr>
          <p:cNvPr id="22" name="Straight Connector 21">
            <a:extLst>
              <a:ext uri="{FF2B5EF4-FFF2-40B4-BE49-F238E27FC236}">
                <a16:creationId xmlns:a16="http://schemas.microsoft.com/office/drawing/2014/main" id="{7227A53C-CCBF-82A6-6CF5-A33E96B43CBB}"/>
              </a:ext>
            </a:extLst>
          </p:cNvPr>
          <p:cNvCxnSpPr>
            <a:cxnSpLocks/>
          </p:cNvCxnSpPr>
          <p:nvPr/>
        </p:nvCxnSpPr>
        <p:spPr>
          <a:xfrm>
            <a:off x="6073369" y="1195254"/>
            <a:ext cx="26292" cy="4688674"/>
          </a:xfrm>
          <a:prstGeom prst="line">
            <a:avLst/>
          </a:prstGeom>
          <a:ln w="15875">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4C4798D-8BCD-7FAC-8925-20C97107EF00}"/>
              </a:ext>
            </a:extLst>
          </p:cNvPr>
          <p:cNvSpPr txBox="1"/>
          <p:nvPr/>
        </p:nvSpPr>
        <p:spPr>
          <a:xfrm>
            <a:off x="7000016" y="1195254"/>
            <a:ext cx="3950152" cy="603066"/>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Aft>
                <a:spcPts val="0"/>
              </a:spcAft>
              <a:buClrTx/>
              <a:buSzTx/>
              <a:buFontTx/>
              <a:buNone/>
              <a:tabLst/>
              <a:defRPr/>
            </a:pPr>
            <a:r>
              <a:rPr lang="en-IN" sz="1200" b="1" dirty="0">
                <a:solidFill>
                  <a:schemeClr val="tx1">
                    <a:lumMod val="100000"/>
                  </a:schemeClr>
                </a:solidFill>
              </a:rPr>
              <a:t>Companies face a broad range of challenges with legal and contracting technology</a:t>
            </a:r>
          </a:p>
        </p:txBody>
      </p:sp>
      <p:sp>
        <p:nvSpPr>
          <p:cNvPr id="37" name="TextBox 36">
            <a:extLst>
              <a:ext uri="{FF2B5EF4-FFF2-40B4-BE49-F238E27FC236}">
                <a16:creationId xmlns:a16="http://schemas.microsoft.com/office/drawing/2014/main" id="{09CDF676-B1AE-DE5F-5E2A-0239F0EF3566}"/>
              </a:ext>
            </a:extLst>
          </p:cNvPr>
          <p:cNvSpPr txBox="1"/>
          <p:nvPr/>
        </p:nvSpPr>
        <p:spPr>
          <a:xfrm>
            <a:off x="1233846" y="1195254"/>
            <a:ext cx="3918013" cy="603066"/>
          </a:xfrm>
          <a:prstGeom prst="rect">
            <a:avLst/>
          </a:prstGeom>
          <a:solidFill>
            <a:srgbClr val="C4C4CD"/>
          </a:solidFill>
        </p:spPr>
        <p:txBody>
          <a:bodyPr wrap="square" anchor="ctr">
            <a:noAutofit/>
          </a:bodyPr>
          <a:lstStyle/>
          <a:p>
            <a:pPr marL="0" marR="0" lvl="0" indent="0" algn="ctr" defTabSz="914400" rtl="0" eaLnBrk="1" fontAlgn="auto" latinLnBrk="0" hangingPunct="1">
              <a:lnSpc>
                <a:spcPct val="100000"/>
              </a:lnSpc>
              <a:spcAft>
                <a:spcPts val="0"/>
              </a:spcAft>
              <a:buClrTx/>
              <a:buSzTx/>
              <a:buFontTx/>
              <a:buNone/>
              <a:tabLst/>
              <a:defRPr/>
            </a:pPr>
            <a:r>
              <a:rPr lang="en-IN" sz="1200" b="1" dirty="0">
                <a:solidFill>
                  <a:schemeClr val="tx1">
                    <a:lumMod val="100000"/>
                  </a:schemeClr>
                </a:solidFill>
              </a:rPr>
              <a:t>Where do you see opportunities for cost savings?</a:t>
            </a:r>
          </a:p>
          <a:p>
            <a:pPr marL="0" marR="0" lvl="0" indent="0" algn="ctr" defTabSz="914400" rtl="0" eaLnBrk="1" fontAlgn="auto" latinLnBrk="0" hangingPunct="1">
              <a:lnSpc>
                <a:spcPct val="100000"/>
              </a:lnSpc>
              <a:spcAft>
                <a:spcPts val="0"/>
              </a:spcAft>
              <a:buClrTx/>
              <a:buSzTx/>
              <a:buFontTx/>
              <a:buNone/>
              <a:tabLst/>
              <a:defRPr/>
            </a:pPr>
            <a:r>
              <a:rPr lang="en-IN" sz="1200" b="1" i="1" dirty="0">
                <a:solidFill>
                  <a:schemeClr val="tx1">
                    <a:lumMod val="100000"/>
                  </a:schemeClr>
                </a:solidFill>
              </a:rPr>
              <a:t>Percentage reporting strategy as offering significant or very significant cost-savings opportunities</a:t>
            </a:r>
          </a:p>
        </p:txBody>
      </p:sp>
      <p:sp>
        <p:nvSpPr>
          <p:cNvPr id="38" name="TextBox 37">
            <a:extLst>
              <a:ext uri="{FF2B5EF4-FFF2-40B4-BE49-F238E27FC236}">
                <a16:creationId xmlns:a16="http://schemas.microsoft.com/office/drawing/2014/main" id="{D3E3B73B-6AC6-331C-D49C-31DFFA722D52}"/>
              </a:ext>
            </a:extLst>
          </p:cNvPr>
          <p:cNvSpPr txBox="1"/>
          <p:nvPr/>
        </p:nvSpPr>
        <p:spPr>
          <a:xfrm>
            <a:off x="609920" y="5961921"/>
            <a:ext cx="10981944" cy="141577"/>
          </a:xfrm>
          <a:prstGeom prst="rect">
            <a:avLst/>
          </a:prstGeom>
          <a:noFill/>
        </p:spPr>
        <p:txBody>
          <a:bodyPr wrap="square" lIns="0" tIns="36576" rIns="0" bIns="0" rtlCol="0" anchor="b">
            <a:spAutoFit/>
          </a:bodyPr>
          <a:lstStyle/>
          <a:p>
            <a:pPr>
              <a:lnSpc>
                <a:spcPct val="85000"/>
              </a:lnSpc>
              <a:spcAft>
                <a:spcPts val="600"/>
              </a:spcAft>
              <a:buClr>
                <a:schemeClr val="accent2"/>
              </a:buClr>
              <a:buSzPct val="70000"/>
            </a:pPr>
            <a:r>
              <a:rPr lang="en-IN" sz="800" dirty="0">
                <a:solidFill>
                  <a:schemeClr val="bg1"/>
                </a:solidFill>
              </a:rPr>
              <a:t>Source: 2021 EY Law Survey.</a:t>
            </a:r>
          </a:p>
        </p:txBody>
      </p:sp>
      <p:grpSp>
        <p:nvGrpSpPr>
          <p:cNvPr id="45" name="Group 44">
            <a:extLst>
              <a:ext uri="{FF2B5EF4-FFF2-40B4-BE49-F238E27FC236}">
                <a16:creationId xmlns:a16="http://schemas.microsoft.com/office/drawing/2014/main" id="{62156312-1CFC-96B1-4496-0090DBA48EB5}"/>
              </a:ext>
            </a:extLst>
          </p:cNvPr>
          <p:cNvGrpSpPr/>
          <p:nvPr/>
        </p:nvGrpSpPr>
        <p:grpSpPr>
          <a:xfrm>
            <a:off x="9075422" y="2250429"/>
            <a:ext cx="2280797" cy="3259382"/>
            <a:chOff x="12122517" y="6508263"/>
            <a:chExt cx="5350146" cy="1453760"/>
          </a:xfrm>
        </p:grpSpPr>
        <p:sp>
          <p:nvSpPr>
            <p:cNvPr id="23" name="Rectangle 22">
              <a:extLst>
                <a:ext uri="{FF2B5EF4-FFF2-40B4-BE49-F238E27FC236}">
                  <a16:creationId xmlns:a16="http://schemas.microsoft.com/office/drawing/2014/main" id="{102EDBBA-EB07-E272-E5D1-925741EB95AF}"/>
                </a:ext>
              </a:extLst>
            </p:cNvPr>
            <p:cNvSpPr/>
            <p:nvPr/>
          </p:nvSpPr>
          <p:spPr>
            <a:xfrm>
              <a:off x="12362180" y="6508263"/>
              <a:ext cx="5110483" cy="1453760"/>
            </a:xfrm>
            <a:prstGeom prst="rect">
              <a:avLst/>
            </a:prstGeom>
            <a:solidFill>
              <a:schemeClr val="tx2"/>
            </a:solidFill>
          </p:spPr>
          <p:txBody>
            <a:bodyPr wrap="square" lIns="91440" tIns="91440" rIns="91440" bIns="91440" anchor="ctr">
              <a:noAutofit/>
            </a:bodyPr>
            <a:lstStyle/>
            <a:p>
              <a:pPr>
                <a:defRPr/>
              </a:pPr>
              <a:r>
                <a:rPr lang="en-US" sz="1600" b="1" dirty="0">
                  <a:latin typeface="EYInterstate Light" panose="02000506000000020004" pitchFamily="2" charset="0"/>
                </a:rPr>
                <a:t>Law departments should consider developing a deeper understanding of their specific challenges to develop strategies that will advance their approach to leveraging technology.</a:t>
              </a:r>
            </a:p>
          </p:txBody>
        </p:sp>
        <p:sp>
          <p:nvSpPr>
            <p:cNvPr id="44" name="Rectangle 43">
              <a:extLst>
                <a:ext uri="{FF2B5EF4-FFF2-40B4-BE49-F238E27FC236}">
                  <a16:creationId xmlns:a16="http://schemas.microsoft.com/office/drawing/2014/main" id="{54BB4D79-BE0E-4596-2ECD-483C7F9A1F16}"/>
                </a:ext>
              </a:extLst>
            </p:cNvPr>
            <p:cNvSpPr/>
            <p:nvPr/>
          </p:nvSpPr>
          <p:spPr>
            <a:xfrm flipH="1">
              <a:off x="12122517" y="6508263"/>
              <a:ext cx="99278" cy="1453760"/>
            </a:xfrm>
            <a:prstGeom prst="rect">
              <a:avLst/>
            </a:prstGeom>
            <a:solidFill>
              <a:srgbClr val="C4C4CD"/>
            </a:solidFill>
          </p:spPr>
          <p:txBody>
            <a:bodyPr wrap="square" lIns="91440" tIns="91440" rIns="91440" bIns="91440" anchor="ctr">
              <a:noAutofit/>
            </a:bodyPr>
            <a:lstStyle/>
            <a:p>
              <a:pPr>
                <a:defRPr/>
              </a:pPr>
              <a:endParaRPr lang="en-US" sz="1600" b="1" dirty="0">
                <a:latin typeface="EYInterstate Light" panose="02000506000000020004" pitchFamily="2" charset="0"/>
              </a:endParaRPr>
            </a:p>
          </p:txBody>
        </p:sp>
      </p:grpSp>
      <p:sp>
        <p:nvSpPr>
          <p:cNvPr id="49" name="Text Placeholder 25">
            <a:extLst>
              <a:ext uri="{FF2B5EF4-FFF2-40B4-BE49-F238E27FC236}">
                <a16:creationId xmlns:a16="http://schemas.microsoft.com/office/drawing/2014/main" id="{873B8B88-ABC3-C8D4-DE77-4A1A1C1655C5}"/>
              </a:ext>
            </a:extLst>
          </p:cNvPr>
          <p:cNvSpPr txBox="1">
            <a:spLocks/>
          </p:cNvSpPr>
          <p:nvPr/>
        </p:nvSpPr>
        <p:spPr>
          <a:xfrm>
            <a:off x="6348537" y="2045923"/>
            <a:ext cx="45719" cy="1011527"/>
          </a:xfrm>
          <a:prstGeom prst="rect">
            <a:avLst/>
          </a:prstGeom>
          <a:solidFill>
            <a:schemeClr val="tx2"/>
          </a:solidFill>
        </p:spPr>
        <p:txBody>
          <a:bodyPr/>
          <a:lstStyle>
            <a:lvl1pPr marL="0" indent="0" algn="ctr" defTabSz="914400" rtl="0" eaLnBrk="1" latinLnBrk="0" hangingPunct="1">
              <a:spcBef>
                <a:spcPts val="0"/>
              </a:spcBef>
              <a:spcAft>
                <a:spcPts val="1200"/>
              </a:spcAft>
              <a:buClr>
                <a:schemeClr val="tx2"/>
              </a:buClr>
              <a:buSzPct val="70000"/>
              <a:buFont typeface="Arial" pitchFamily="34" charset="0"/>
              <a:buNone/>
              <a:defRPr sz="16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dirty="0">
              <a:latin typeface="EYInterstate Light" panose="02000506000000020004" pitchFamily="2" charset="0"/>
            </a:endParaRPr>
          </a:p>
        </p:txBody>
      </p:sp>
      <p:grpSp>
        <p:nvGrpSpPr>
          <p:cNvPr id="71" name="Group 70">
            <a:extLst>
              <a:ext uri="{FF2B5EF4-FFF2-40B4-BE49-F238E27FC236}">
                <a16:creationId xmlns:a16="http://schemas.microsoft.com/office/drawing/2014/main" id="{E7B65C2B-49C4-CC1E-B719-07F214E90459}"/>
              </a:ext>
            </a:extLst>
          </p:cNvPr>
          <p:cNvGrpSpPr/>
          <p:nvPr/>
        </p:nvGrpSpPr>
        <p:grpSpPr>
          <a:xfrm>
            <a:off x="6346192" y="1712515"/>
            <a:ext cx="2708716" cy="2938811"/>
            <a:chOff x="6348039" y="1837643"/>
            <a:chExt cx="2489892" cy="2938811"/>
          </a:xfrm>
        </p:grpSpPr>
        <p:grpSp>
          <p:nvGrpSpPr>
            <p:cNvPr id="55" name="Group 54">
              <a:extLst>
                <a:ext uri="{FF2B5EF4-FFF2-40B4-BE49-F238E27FC236}">
                  <a16:creationId xmlns:a16="http://schemas.microsoft.com/office/drawing/2014/main" id="{7A45DC44-9C93-80A8-D818-859F070DB24D}"/>
                </a:ext>
              </a:extLst>
            </p:cNvPr>
            <p:cNvGrpSpPr/>
            <p:nvPr/>
          </p:nvGrpSpPr>
          <p:grpSpPr>
            <a:xfrm>
              <a:off x="6369051" y="1837643"/>
              <a:ext cx="2468880" cy="1476057"/>
              <a:chOff x="6369051" y="1837643"/>
              <a:chExt cx="2468880" cy="1476057"/>
            </a:xfrm>
          </p:grpSpPr>
          <p:sp>
            <p:nvSpPr>
              <p:cNvPr id="48" name="Text Placeholder 25">
                <a:extLst>
                  <a:ext uri="{FF2B5EF4-FFF2-40B4-BE49-F238E27FC236}">
                    <a16:creationId xmlns:a16="http://schemas.microsoft.com/office/drawing/2014/main" id="{5744FCBC-D641-DB5C-3525-747F20CB141B}"/>
                  </a:ext>
                </a:extLst>
              </p:cNvPr>
              <p:cNvSpPr txBox="1">
                <a:spLocks/>
              </p:cNvSpPr>
              <p:nvPr/>
            </p:nvSpPr>
            <p:spPr>
              <a:xfrm>
                <a:off x="6369051" y="2326275"/>
                <a:ext cx="2468880" cy="987425"/>
              </a:xfrm>
              <a:prstGeom prst="rect">
                <a:avLst/>
              </a:prstGeom>
            </p:spPr>
            <p:txBody>
              <a:bodyPr lIns="182880"/>
              <a:lstStyle>
                <a:lvl1pPr marL="0" indent="0" algn="ctr" defTabSz="914400" rtl="0" eaLnBrk="1" latinLnBrk="0" hangingPunct="1">
                  <a:spcBef>
                    <a:spcPts val="0"/>
                  </a:spcBef>
                  <a:spcAft>
                    <a:spcPts val="1200"/>
                  </a:spcAft>
                  <a:buClr>
                    <a:schemeClr val="tx2"/>
                  </a:buClr>
                  <a:buSzPct val="70000"/>
                  <a:buFont typeface="Arial" pitchFamily="34" charset="0"/>
                  <a:buNone/>
                  <a:defRPr sz="16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IN" sz="1400" dirty="0">
                    <a:latin typeface="EYInterstate Light" panose="02000506000000020004" pitchFamily="2" charset="0"/>
                  </a:rPr>
                  <a:t>of law departments have made greater use of technology in the past 12 months.</a:t>
                </a:r>
                <a:endParaRPr lang="en-US" sz="1400" dirty="0">
                  <a:latin typeface="EYInterstate Light" panose="02000506000000020004" pitchFamily="2" charset="0"/>
                </a:endParaRPr>
              </a:p>
            </p:txBody>
          </p:sp>
          <p:sp>
            <p:nvSpPr>
              <p:cNvPr id="47" name="Text Placeholder 25">
                <a:extLst>
                  <a:ext uri="{FF2B5EF4-FFF2-40B4-BE49-F238E27FC236}">
                    <a16:creationId xmlns:a16="http://schemas.microsoft.com/office/drawing/2014/main" id="{982B3C54-5881-0EDE-0B9E-BF52995B6832}"/>
                  </a:ext>
                </a:extLst>
              </p:cNvPr>
              <p:cNvSpPr txBox="1">
                <a:spLocks/>
              </p:cNvSpPr>
              <p:nvPr/>
            </p:nvSpPr>
            <p:spPr>
              <a:xfrm>
                <a:off x="6369051" y="1837643"/>
                <a:ext cx="1723856" cy="629156"/>
              </a:xfrm>
              <a:prstGeom prst="rect">
                <a:avLst/>
              </a:prstGeom>
              <a:noFill/>
            </p:spPr>
            <p:txBody>
              <a:bodyPr lIns="182880" anchor="ctr"/>
              <a:lstStyle>
                <a:lvl1pPr marL="0" indent="0" algn="ctr" defTabSz="914400" rtl="0" eaLnBrk="1" latinLnBrk="0" hangingPunct="1">
                  <a:spcBef>
                    <a:spcPts val="0"/>
                  </a:spcBef>
                  <a:spcAft>
                    <a:spcPts val="1200"/>
                  </a:spcAft>
                  <a:buClr>
                    <a:schemeClr val="tx2"/>
                  </a:buClr>
                  <a:buSzPct val="70000"/>
                  <a:buFont typeface="Arial" pitchFamily="34" charset="0"/>
                  <a:buNone/>
                  <a:defRPr sz="52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1200" dirty="0">
                    <a:latin typeface="EYInterstate Light" panose="02000506000000020004" pitchFamily="2" charset="0"/>
                  </a:rPr>
                  <a:t>Only</a:t>
                </a:r>
                <a:r>
                  <a:rPr lang="en-US" sz="2800" dirty="0">
                    <a:solidFill>
                      <a:schemeClr val="tx2"/>
                    </a:solidFill>
                    <a:latin typeface="EYInterstate Light" panose="02000506000000020004" pitchFamily="2" charset="0"/>
                  </a:rPr>
                  <a:t> </a:t>
                </a:r>
                <a:r>
                  <a:rPr lang="en-US" sz="2000" dirty="0">
                    <a:solidFill>
                      <a:schemeClr val="tx2"/>
                    </a:solidFill>
                    <a:latin typeface="EYInterstate Light" panose="02000506000000020004" pitchFamily="2" charset="0"/>
                  </a:rPr>
                  <a:t>50%</a:t>
                </a:r>
              </a:p>
            </p:txBody>
          </p:sp>
        </p:grpSp>
        <p:grpSp>
          <p:nvGrpSpPr>
            <p:cNvPr id="56" name="Group 55">
              <a:extLst>
                <a:ext uri="{FF2B5EF4-FFF2-40B4-BE49-F238E27FC236}">
                  <a16:creationId xmlns:a16="http://schemas.microsoft.com/office/drawing/2014/main" id="{612D0CF3-EA61-2DC5-179B-1548AFFF62C0}"/>
                </a:ext>
              </a:extLst>
            </p:cNvPr>
            <p:cNvGrpSpPr/>
            <p:nvPr/>
          </p:nvGrpSpPr>
          <p:grpSpPr>
            <a:xfrm>
              <a:off x="6348039" y="3300397"/>
              <a:ext cx="2489892" cy="1476057"/>
              <a:chOff x="6348039" y="3300397"/>
              <a:chExt cx="2489892" cy="1476057"/>
            </a:xfrm>
          </p:grpSpPr>
          <p:grpSp>
            <p:nvGrpSpPr>
              <p:cNvPr id="50" name="Group 49">
                <a:extLst>
                  <a:ext uri="{FF2B5EF4-FFF2-40B4-BE49-F238E27FC236}">
                    <a16:creationId xmlns:a16="http://schemas.microsoft.com/office/drawing/2014/main" id="{7A437DB0-1EC7-2181-6576-0569696CD28F}"/>
                  </a:ext>
                </a:extLst>
              </p:cNvPr>
              <p:cNvGrpSpPr/>
              <p:nvPr/>
            </p:nvGrpSpPr>
            <p:grpSpPr>
              <a:xfrm>
                <a:off x="6348039" y="3658657"/>
                <a:ext cx="2489892" cy="1117797"/>
                <a:chOff x="-3280454" y="4145729"/>
                <a:chExt cx="3504292" cy="1117797"/>
              </a:xfrm>
            </p:grpSpPr>
            <p:sp>
              <p:nvSpPr>
                <p:cNvPr id="52" name="Text Placeholder 25">
                  <a:extLst>
                    <a:ext uri="{FF2B5EF4-FFF2-40B4-BE49-F238E27FC236}">
                      <a16:creationId xmlns:a16="http://schemas.microsoft.com/office/drawing/2014/main" id="{107A6A78-0F96-0A0B-49FA-B254F3F4ACBD}"/>
                    </a:ext>
                  </a:extLst>
                </p:cNvPr>
                <p:cNvSpPr txBox="1">
                  <a:spLocks/>
                </p:cNvSpPr>
                <p:nvPr/>
              </p:nvSpPr>
              <p:spPr>
                <a:xfrm>
                  <a:off x="-3250882" y="4276101"/>
                  <a:ext cx="3474720" cy="987425"/>
                </a:xfrm>
                <a:prstGeom prst="rect">
                  <a:avLst/>
                </a:prstGeom>
              </p:spPr>
              <p:txBody>
                <a:bodyPr lIns="182880"/>
                <a:lstStyle>
                  <a:lvl1pPr marL="0" indent="0" algn="ctr" defTabSz="914400" rtl="0" eaLnBrk="1" latinLnBrk="0" hangingPunct="1">
                    <a:spcBef>
                      <a:spcPts val="0"/>
                    </a:spcBef>
                    <a:spcAft>
                      <a:spcPts val="1200"/>
                    </a:spcAft>
                    <a:buClr>
                      <a:schemeClr val="tx2"/>
                    </a:buClr>
                    <a:buSzPct val="70000"/>
                    <a:buFont typeface="Arial" pitchFamily="34" charset="0"/>
                    <a:buNone/>
                    <a:defRPr sz="16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IN" sz="1400" dirty="0">
                      <a:latin typeface="EYInterstate Light" panose="02000506000000020004" pitchFamily="2" charset="0"/>
                    </a:rPr>
                    <a:t>of in-house counsel say they have the technology they need to do their job.</a:t>
                  </a:r>
                  <a:endParaRPr lang="en-US" sz="1400" dirty="0">
                    <a:latin typeface="EYInterstate Light" panose="02000506000000020004" pitchFamily="2" charset="0"/>
                  </a:endParaRPr>
                </a:p>
              </p:txBody>
            </p:sp>
            <p:sp>
              <p:nvSpPr>
                <p:cNvPr id="53" name="Text Placeholder 25">
                  <a:extLst>
                    <a:ext uri="{FF2B5EF4-FFF2-40B4-BE49-F238E27FC236}">
                      <a16:creationId xmlns:a16="http://schemas.microsoft.com/office/drawing/2014/main" id="{45B78480-9B42-2BFB-2785-4B14C3CB7BBA}"/>
                    </a:ext>
                  </a:extLst>
                </p:cNvPr>
                <p:cNvSpPr txBox="1">
                  <a:spLocks/>
                </p:cNvSpPr>
                <p:nvPr/>
              </p:nvSpPr>
              <p:spPr>
                <a:xfrm>
                  <a:off x="-3280454" y="4145729"/>
                  <a:ext cx="59147" cy="805408"/>
                </a:xfrm>
                <a:prstGeom prst="rect">
                  <a:avLst/>
                </a:prstGeom>
                <a:solidFill>
                  <a:schemeClr val="tx2"/>
                </a:solidFill>
              </p:spPr>
              <p:txBody>
                <a:bodyPr/>
                <a:lstStyle>
                  <a:lvl1pPr marL="0" indent="0" algn="ctr" defTabSz="914400" rtl="0" eaLnBrk="1" latinLnBrk="0" hangingPunct="1">
                    <a:spcBef>
                      <a:spcPts val="0"/>
                    </a:spcBef>
                    <a:spcAft>
                      <a:spcPts val="1200"/>
                    </a:spcAft>
                    <a:buClr>
                      <a:schemeClr val="tx2"/>
                    </a:buClr>
                    <a:buSzPct val="70000"/>
                    <a:buFont typeface="Arial" pitchFamily="34" charset="0"/>
                    <a:buNone/>
                    <a:defRPr sz="16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dirty="0">
                    <a:latin typeface="EYInterstate Light" panose="02000506000000020004" pitchFamily="2" charset="0"/>
                  </a:endParaRPr>
                </a:p>
              </p:txBody>
            </p:sp>
          </p:grpSp>
          <p:sp>
            <p:nvSpPr>
              <p:cNvPr id="54" name="Text Placeholder 25">
                <a:extLst>
                  <a:ext uri="{FF2B5EF4-FFF2-40B4-BE49-F238E27FC236}">
                    <a16:creationId xmlns:a16="http://schemas.microsoft.com/office/drawing/2014/main" id="{72722979-9724-CE93-2A0B-2E40FE565CBB}"/>
                  </a:ext>
                </a:extLst>
              </p:cNvPr>
              <p:cNvSpPr txBox="1">
                <a:spLocks/>
              </p:cNvSpPr>
              <p:nvPr/>
            </p:nvSpPr>
            <p:spPr>
              <a:xfrm>
                <a:off x="6369051" y="3300397"/>
                <a:ext cx="1723856" cy="629156"/>
              </a:xfrm>
              <a:prstGeom prst="rect">
                <a:avLst/>
              </a:prstGeom>
              <a:noFill/>
            </p:spPr>
            <p:txBody>
              <a:bodyPr lIns="182880" anchor="ctr"/>
              <a:lstStyle>
                <a:lvl1pPr marL="0" indent="0" algn="ctr" defTabSz="914400" rtl="0" eaLnBrk="1" latinLnBrk="0" hangingPunct="1">
                  <a:spcBef>
                    <a:spcPts val="0"/>
                  </a:spcBef>
                  <a:spcAft>
                    <a:spcPts val="1200"/>
                  </a:spcAft>
                  <a:buClr>
                    <a:schemeClr val="tx2"/>
                  </a:buClr>
                  <a:buSzPct val="70000"/>
                  <a:buFont typeface="Arial" pitchFamily="34" charset="0"/>
                  <a:buNone/>
                  <a:defRPr sz="52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1200" dirty="0">
                    <a:latin typeface="EYInterstate Light" panose="02000506000000020004" pitchFamily="2" charset="0"/>
                  </a:rPr>
                  <a:t>Only</a:t>
                </a:r>
                <a:r>
                  <a:rPr lang="en-US" sz="2800" dirty="0">
                    <a:solidFill>
                      <a:schemeClr val="tx2"/>
                    </a:solidFill>
                    <a:latin typeface="EYInterstate Light" panose="02000506000000020004" pitchFamily="2" charset="0"/>
                  </a:rPr>
                  <a:t> </a:t>
                </a:r>
                <a:r>
                  <a:rPr lang="en-US" sz="2000" dirty="0">
                    <a:solidFill>
                      <a:schemeClr val="tx2"/>
                    </a:solidFill>
                    <a:latin typeface="EYInterstate Light" panose="02000506000000020004" pitchFamily="2" charset="0"/>
                  </a:rPr>
                  <a:t>30%</a:t>
                </a:r>
              </a:p>
            </p:txBody>
          </p:sp>
        </p:grpSp>
      </p:grpSp>
      <p:grpSp>
        <p:nvGrpSpPr>
          <p:cNvPr id="66" name="Group 65">
            <a:extLst>
              <a:ext uri="{FF2B5EF4-FFF2-40B4-BE49-F238E27FC236}">
                <a16:creationId xmlns:a16="http://schemas.microsoft.com/office/drawing/2014/main" id="{398802AB-AFFF-66F0-194C-52B35655FD63}"/>
              </a:ext>
            </a:extLst>
          </p:cNvPr>
          <p:cNvGrpSpPr/>
          <p:nvPr/>
        </p:nvGrpSpPr>
        <p:grpSpPr>
          <a:xfrm>
            <a:off x="6346192" y="4503999"/>
            <a:ext cx="2708716" cy="1476057"/>
            <a:chOff x="6348038" y="3079007"/>
            <a:chExt cx="2489893" cy="1476057"/>
          </a:xfrm>
        </p:grpSpPr>
        <p:grpSp>
          <p:nvGrpSpPr>
            <p:cNvPr id="57" name="Group 56">
              <a:extLst>
                <a:ext uri="{FF2B5EF4-FFF2-40B4-BE49-F238E27FC236}">
                  <a16:creationId xmlns:a16="http://schemas.microsoft.com/office/drawing/2014/main" id="{7724BE13-A2C4-CB6A-A650-8AD8A4E1C610}"/>
                </a:ext>
              </a:extLst>
            </p:cNvPr>
            <p:cNvGrpSpPr/>
            <p:nvPr/>
          </p:nvGrpSpPr>
          <p:grpSpPr>
            <a:xfrm>
              <a:off x="6369051" y="3079007"/>
              <a:ext cx="2468880" cy="1476057"/>
              <a:chOff x="6369051" y="1659843"/>
              <a:chExt cx="2468880" cy="1476057"/>
            </a:xfrm>
          </p:grpSpPr>
          <p:sp>
            <p:nvSpPr>
              <p:cNvPr id="58" name="Text Placeholder 25">
                <a:extLst>
                  <a:ext uri="{FF2B5EF4-FFF2-40B4-BE49-F238E27FC236}">
                    <a16:creationId xmlns:a16="http://schemas.microsoft.com/office/drawing/2014/main" id="{73227F1B-E488-ED14-A08C-AF31075EB56E}"/>
                  </a:ext>
                </a:extLst>
              </p:cNvPr>
              <p:cNvSpPr txBox="1">
                <a:spLocks/>
              </p:cNvSpPr>
              <p:nvPr/>
            </p:nvSpPr>
            <p:spPr>
              <a:xfrm>
                <a:off x="6369051" y="1659843"/>
                <a:ext cx="871513" cy="629156"/>
              </a:xfrm>
              <a:prstGeom prst="rect">
                <a:avLst/>
              </a:prstGeom>
              <a:noFill/>
            </p:spPr>
            <p:txBody>
              <a:bodyPr lIns="182880" anchor="ctr"/>
              <a:lstStyle>
                <a:lvl1pPr marL="0" indent="0" algn="ctr" defTabSz="914400" rtl="0" eaLnBrk="1" latinLnBrk="0" hangingPunct="1">
                  <a:spcBef>
                    <a:spcPts val="0"/>
                  </a:spcBef>
                  <a:spcAft>
                    <a:spcPts val="1200"/>
                  </a:spcAft>
                  <a:buClr>
                    <a:schemeClr val="tx2"/>
                  </a:buClr>
                  <a:buSzPct val="70000"/>
                  <a:buFont typeface="Arial" pitchFamily="34" charset="0"/>
                  <a:buNone/>
                  <a:defRPr sz="52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2000" dirty="0">
                    <a:solidFill>
                      <a:schemeClr val="tx2"/>
                    </a:solidFill>
                    <a:latin typeface="EYInterstate Light" panose="02000506000000020004" pitchFamily="2" charset="0"/>
                  </a:rPr>
                  <a:t>94%</a:t>
                </a:r>
              </a:p>
            </p:txBody>
          </p:sp>
          <p:sp>
            <p:nvSpPr>
              <p:cNvPr id="59" name="Text Placeholder 25">
                <a:extLst>
                  <a:ext uri="{FF2B5EF4-FFF2-40B4-BE49-F238E27FC236}">
                    <a16:creationId xmlns:a16="http://schemas.microsoft.com/office/drawing/2014/main" id="{93F272D8-F9C8-11AD-F592-9C68FECDE032}"/>
                  </a:ext>
                </a:extLst>
              </p:cNvPr>
              <p:cNvSpPr txBox="1">
                <a:spLocks/>
              </p:cNvSpPr>
              <p:nvPr/>
            </p:nvSpPr>
            <p:spPr>
              <a:xfrm>
                <a:off x="6369051" y="2148475"/>
                <a:ext cx="2468880" cy="987425"/>
              </a:xfrm>
              <a:prstGeom prst="rect">
                <a:avLst/>
              </a:prstGeom>
            </p:spPr>
            <p:txBody>
              <a:bodyPr lIns="182880"/>
              <a:lstStyle>
                <a:lvl1pPr marL="0" indent="0" algn="ctr" defTabSz="914400" rtl="0" eaLnBrk="1" latinLnBrk="0" hangingPunct="1">
                  <a:spcBef>
                    <a:spcPts val="0"/>
                  </a:spcBef>
                  <a:spcAft>
                    <a:spcPts val="1200"/>
                  </a:spcAft>
                  <a:buClr>
                    <a:schemeClr val="tx2"/>
                  </a:buClr>
                  <a:buSzPct val="70000"/>
                  <a:buFont typeface="Arial" pitchFamily="34" charset="0"/>
                  <a:buNone/>
                  <a:defRPr sz="16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IN" sz="1400" dirty="0">
                    <a:latin typeface="EYInterstate Light" panose="02000506000000020004" pitchFamily="2" charset="0"/>
                  </a:rPr>
                  <a:t>of companies say they face challenges with their legal entity management systems.</a:t>
                </a:r>
                <a:endParaRPr lang="en-US" sz="1400" dirty="0">
                  <a:latin typeface="EYInterstate Light" panose="02000506000000020004" pitchFamily="2" charset="0"/>
                </a:endParaRPr>
              </a:p>
            </p:txBody>
          </p:sp>
        </p:grpSp>
        <p:sp>
          <p:nvSpPr>
            <p:cNvPr id="65" name="Text Placeholder 25">
              <a:extLst>
                <a:ext uri="{FF2B5EF4-FFF2-40B4-BE49-F238E27FC236}">
                  <a16:creationId xmlns:a16="http://schemas.microsoft.com/office/drawing/2014/main" id="{9387DD48-D847-0E00-20F0-30A0492F1B08}"/>
                </a:ext>
              </a:extLst>
            </p:cNvPr>
            <p:cNvSpPr txBox="1">
              <a:spLocks/>
            </p:cNvSpPr>
            <p:nvPr/>
          </p:nvSpPr>
          <p:spPr>
            <a:xfrm flipH="1">
              <a:off x="6348038" y="3315212"/>
              <a:ext cx="42026" cy="889666"/>
            </a:xfrm>
            <a:prstGeom prst="rect">
              <a:avLst/>
            </a:prstGeom>
            <a:solidFill>
              <a:schemeClr val="tx2"/>
            </a:solidFill>
          </p:spPr>
          <p:txBody>
            <a:bodyPr/>
            <a:lstStyle>
              <a:lvl1pPr marL="0" indent="0" algn="ctr" defTabSz="914400" rtl="0" eaLnBrk="1" latinLnBrk="0" hangingPunct="1">
                <a:spcBef>
                  <a:spcPts val="0"/>
                </a:spcBef>
                <a:spcAft>
                  <a:spcPts val="1200"/>
                </a:spcAft>
                <a:buClr>
                  <a:schemeClr val="tx2"/>
                </a:buClr>
                <a:buSzPct val="70000"/>
                <a:buFont typeface="Arial" pitchFamily="34" charset="0"/>
                <a:buNone/>
                <a:defRPr sz="16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dirty="0">
                <a:latin typeface="EYInterstate Light" panose="02000506000000020004" pitchFamily="2" charset="0"/>
              </a:endParaRPr>
            </a:p>
          </p:txBody>
        </p:sp>
      </p:grpSp>
    </p:spTree>
    <p:extLst>
      <p:ext uri="{BB962C8B-B14F-4D97-AF65-F5344CB8AC3E}">
        <p14:creationId xmlns:p14="http://schemas.microsoft.com/office/powerpoint/2010/main" val="39328589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4.36934909699757767498E+00&quot;&gt;&lt;m_msothmcolidx val=&quot;0&quot;/&gt;&lt;m_rgb r=&quot;FF&quot; g=&quot;FA&quot; b=&quot;CE&quot;/&gt;&lt;/elem&gt;&lt;elem m_fUsage=&quot;1.89999999999999991118E+00&quot;&gt;&lt;m_msothmcolidx val=&quot;0&quot;/&gt;&lt;m_rgb r=&quot;27&quot; g=&quot;AC&quot; b=&quot;AA&quot;/&gt;&lt;/elem&gt;&lt;elem m_fUsage=&quot;1.85093099999999988192E+00&quot;&gt;&lt;m_msothmcolidx val=&quot;0&quot;/&gt;&lt;m_rgb r=&quot;84&quot; g=&quot;77&quot; b=&quot;00&quot;/&gt;&lt;/elem&gt;&lt;elem m_fUsage=&quot;8.10000000000000053291E-01&quot;&gt;&lt;m_msothmcolidx val=&quot;0&quot;/&gt;&lt;m_rgb r=&quot;0C&quot; g=&quot;46&quot; b=&quot;72&quot;/&gt;&lt;/elem&gt;&lt;elem m_fUsage=&quot;5.65552381767299383597E-01&quot;&gt;&lt;m_msothmcolidx val=&quot;0&quot;/&gt;&lt;m_rgb r=&quot;60&quot; g=&quot;AB&quot; b=&quot;F0&quot;/&gt;&lt;/elem&gt;&lt;elem m_fUsage=&quot;3.89639629985829238912E-01&quot;&gt;&lt;m_msothmcolidx val=&quot;0&quot;/&gt;&lt;m_rgb r=&quot;FF&quot; g=&quot;F0&quot; b=&quot;66&quot;/&gt;&lt;/elem&gt;&lt;elem m_fUsage=&quot;4.23911582752162438559E-02&quot;&gt;&lt;m_msothmcolidx val=&quot;0&quot;/&gt;&lt;m_rgb r=&quot;B3&quot; g=&quot;A0&quot; b=&quot;00&quot;/&gt;&lt;/elem&gt;&lt;elem m_fUsage=&quot;3.81520424476946215520E-02&quot;&gt;&lt;m_msothmcolidx val=&quot;0&quot;/&gt;&lt;m_rgb r=&quot;FF&quot; g=&quot;E9&quot; b=&quot;1C&quot;/&gt;&lt;/elem&gt;&lt;elem m_fUsage=&quot;2.56976259584879677955E-02&quot;&gt;&lt;m_msothmcolidx val=&quot;0&quot;/&gt;&lt;m_rgb r=&quot;FF&quot; g=&quot;A5&quot; b=&quot;9F&quot;/&gt;&lt;/elem&gt;&lt;elem m_fUsage=&quot;8.15882844217451566604E-03&quot;&gt;&lt;m_msothmcolidx val=&quot;0&quot;/&gt;&lt;m_rgb r=&quot;E6&quot; g=&quot;0C&quot; b=&quot;00&quot;/&gt;&lt;/elem&gt;&lt;elem m_fUsage=&quot;3.93994732383498881263E-05&quot;&gt;&lt;m_msothmcolidx val=&quot;0&quot;/&gt;&lt;m_rgb r=&quot;F9&quot; g=&quot;93&quot; b=&quot;AE&quot;/&gt;&lt;/elem&gt;&lt;elem m_fUsage=&quot;2.86246469200492196811E-05&quot;&gt;&lt;m_msothmcolidx val=&quot;0&quot;/&gt;&lt;m_rgb r=&quot;F5&quot; g=&quot;50&quot; b=&quot;7D&quot;/&gt;&lt;/elem&gt;&lt;elem m_fUsage=&quot;2.72384277983681232719E-05&quot;&gt;&lt;m_msothmcolidx val=&quot;0&quot;/&gt;&lt;m_rgb r=&quot;C1&quot; g=&quot;EE&quot; b=&quot;EC&quot;/&gt;&lt;/elem&gt;&lt;elem m_fUsage=&quot;2.07461881704712948103E-05&quot;&gt;&lt;m_msothmcolidx val=&quot;0&quot;/&gt;&lt;m_rgb r=&quot;94&quot; g=&quot;CB&quot; b=&quot;F3&quot;/&gt;&lt;/elem&gt;&lt;elem m_fUsage=&quot;6.75155121849747319078E-06&quot;&gt;&lt;m_msothmcolidx val=&quot;0&quot;/&gt;&lt;m_rgb r=&quot;0F&quot; g=&quot;58&quot; b=&quot;8E&quot;/&gt;&lt;/elem&gt;&lt;elem m_fUsage=&quot;1.29333793555477231482E-06&quot;&gt;&lt;m_msothmcolidx val=&quot;0&quot;/&gt;&lt;m_rgb r=&quot;FF&quot; g=&quot;FA&quot; b=&quot;CC&quot;/&gt;&lt;/elem&gt;&lt;elem m_fUsage=&quot;1.01040882714392978355E-06&quot;&gt;&lt;m_msothmcolidx val=&quot;0&quot;/&gt;&lt;m_rgb r=&quot;FF&quot; g=&quot;F3&quot; b=&quot;8E&quot;/&gt;&lt;/elem&gt;&lt;elem m_fUsage=&quot;5.38547225950868288117E-07&quot;&gt;&lt;m_msothmcolidx val=&quot;0&quot;/&gt;&lt;m_rgb r=&quot;F7&quot; g=&quot;7D&quot; b=&quot;9E&quot;/&gt;&lt;/elem&gt;&lt;elem m_fUsage=&quot;4.36223253020203343021E-07&quot;&gt;&lt;m_msothmcolidx val=&quot;0&quot;/&gt;&lt;m_rgb r=&quot;35&quot; g=&quot;BB&quot; b=&quot;B5&quot;/&gt;&lt;/elem&gt;&lt;elem m_fUsage=&quot;3.92600927718183019307E-07&quot;&gt;&lt;m_msothmcolidx val=&quot;0&quot;/&gt;&lt;m_rgb r=&quot;2C&quot; g=&quot;C0&quot; b=&quot;BD&quot;/&gt;&lt;/elem&gt;&lt;elem m_fUsage=&quot;3.53340834946364733258E-07&quot;&gt;&lt;m_msothmcolidx val=&quot;0&quot;/&gt;&lt;m_rgb r=&quot;00&quot; g=&quot;6F&quot; b=&quot;69&quot;/&gt;&lt;/elem&gt;&lt;elem m_fUsage=&quot;3.18006751451728275814E-07&quot;&gt;&lt;m_msothmcolidx val=&quot;0&quot;/&gt;&lt;m_rgb r=&quot;35&quot; g=&quot;CA&quot; b=&quot;A2&quot;/&gt;&lt;/elem&gt;&lt;elem m_fUsage=&quot;1.69001825998257915578E-07&quot;&gt;&lt;m_msothmcolidx val=&quot;0&quot;/&gt;&lt;m_rgb r=&quot;13&quot; g=&quot;00&quot; b=&quot;BF&quot;/&gt;&lt;/elem&gt;&lt;elem m_fUsage=&quot;1.52101643398432118726E-07&quot;&gt;&lt;m_msothmcolidx val=&quot;0&quot;/&gt;&lt;m_rgb r=&quot;BF&quot; g=&quot;AD&quot; b=&quot;00&quot;/&gt;&lt;/elem&gt;&lt;/m_vecMRU&gt;&lt;/m_mruColor&gt;&lt;m_eweekdayFirstOfWeek val=&quot;2&quot;/&gt;&lt;m_eweekdayFirstOfWorkweek val=&quot;2&quot;/&gt;&lt;m_eweekdayFirstOfWeekend val=&quot;7&quot;/&gt;&lt;/CPresentation&gt;&lt;/root&gt;"/>
  <p:tag name="THINKCELLUNDODONOTDELETE" val="0"/>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OfL238hMGwTHI2KKcXR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isE1282NBvsf0GVmld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ngIIILNfFKlBAro.8Fx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kbFXgjSLF9OcXCFBn_q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Fw9khYssH0N3l8tcCwA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dMiIuPkNnmWTPg4H88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YlBiwLJwLvs9FXslEoy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ovM4GeePeCPEuCT9E1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JCnnqWh75zJIw3v3GTW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W5bTIPMOzOTIhzRvFAV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lC5zC6fTx0dySV.OqSb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f8OEbkJVVLEis075H2m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3.f_GUSRqE6VzgRmQ48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e8oGpp2XV7uZ.Jt.dHa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_IMBAJSDFQZmzdLIaZIw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rSLvtgY9.HepNH53SmL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Ts87orCFiqsUP48p_ag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zQzU6HWTpn29q3b5Qc1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H0WOq.7sKPbsBHjRVQK7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oDADn8OWepd2KzpeWx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oNhREYro3wE17ShV9C7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2btt1UGhDE.RUF4L_FH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XfehG8AtiU7UHtwVlLO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lnq1onHOdHsamnjUvH6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yDHLtojzem4zDxldM3A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1y.yJNAlzxaGUZYyMgh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7Pz.7oXxn80AsGrfZbM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1ZP2fG3qLfuLrc69LLu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Hk9Uef7ooCZoydr_CKO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CPaO.pbx8ozYRIwWq2f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WcNtH6Z_3LgdCfEZSTOE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bOIJFR8mg4B6nsRL6eZ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fuPQX8vErQdTz17SQyU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Tnr_XA1aQ401FSVhWvgV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6Pm_zGWSp3g1r4CvmWcr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fi.xsRkcYkm7ZOfCuEU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lKWIUHZPbnvSaInu3Lc7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iBOi3dhdX52CfdsbtZk3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4vk.TIDfSBjg_tAc0xU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RJxOlkMa4MM4BmlKbxr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1G5zfq5h23u.RhW2Ug6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K6GGeeLMDVoziJAFdwP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naal0czJrPciTfpWFzS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QtpBrC2cTdybvfrHWJj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yj4GPuBwbiTKKrTtrveL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f9JRA90TiM1oIrBMX0ZZ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2q..6bBMyqcLU2bvrMfA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7B78jYT.aoskQSAufqlf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sLu.k.5vkBX953ArzPwZ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XHNDc3hOiw3oeYDnq6N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vCiTxZTbGfhtpHzoJWGA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8eejaSucHgutsa2VQZVB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usb8hHhBRlY2Sny5aPV5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3JdYts4Nn3fHZVikr.WhM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FHR3zPtA0SAVSJ983w2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ogwMgb4FccY7qMsAAF6V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Bjb9aK.KF4Ki4fGzp_9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oWWWwsFO9abDr47IogFz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nezlU0obIV0k.b82ueOx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T1FW5msTQgkmO2djTkg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yqngQf98fU5ra11RTPzg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9ZIsUkgTXZc_9NOKcsT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GIHyMxtVZ_9CkdpN4TF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zQcQaJCkgKUjiu1RopQ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FBlmAVJcj4.i6HgGlJ0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DuZDXPvP534eNmv9.0WG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PeEz_fJJTA75BqlGzl0w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FgGiAAkDZYTmnxeHCHr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rv6DV6Fl_Qcr_vk2vgcP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6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4.xml><?xml version="1.0" encoding="utf-8"?>
<a:theme xmlns:a="http://schemas.openxmlformats.org/drawingml/2006/main" name="8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10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9eca59e-3684-4aad-a36c-d726e6eb4870" xsi:nil="true"/>
    <lcf76f155ced4ddcb4097134ff3c332f xmlns="61c1d967-e808-42ab-84e6-7ed728d235ee">
      <Terms xmlns="http://schemas.microsoft.com/office/infopath/2007/PartnerControls"/>
    </lcf76f155ced4ddcb4097134ff3c332f>
    <SharedWithUsers xmlns="c9eca59e-3684-4aad-a36c-d726e6eb4870">
      <UserInfo>
        <DisplayName>Kritika Jain</DisplayName>
        <AccountId>12</AccountId>
        <AccountType/>
      </UserInfo>
      <UserInfo>
        <DisplayName>Joe Blackwood</DisplayName>
        <AccountId>447</AccountId>
        <AccountType/>
      </UserInfo>
      <UserInfo>
        <DisplayName>Heath R Harris</DisplayName>
        <AccountId>1379</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3FF65CD9FB2754EBFBE626952F21C83" ma:contentTypeVersion="14" ma:contentTypeDescription="Create a new document." ma:contentTypeScope="" ma:versionID="0be5c54da8efb5b9645d4214216f27c8">
  <xsd:schema xmlns:xsd="http://www.w3.org/2001/XMLSchema" xmlns:xs="http://www.w3.org/2001/XMLSchema" xmlns:p="http://schemas.microsoft.com/office/2006/metadata/properties" xmlns:ns2="61c1d967-e808-42ab-84e6-7ed728d235ee" xmlns:ns3="c9eca59e-3684-4aad-a36c-d726e6eb4870" targetNamespace="http://schemas.microsoft.com/office/2006/metadata/properties" ma:root="true" ma:fieldsID="fac248887ed4b9c6fa7dcdf65a242fe2" ns2:_="" ns3:_="">
    <xsd:import namespace="61c1d967-e808-42ab-84e6-7ed728d235ee"/>
    <xsd:import namespace="c9eca59e-3684-4aad-a36c-d726e6eb487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c1d967-e808-42ab-84e6-7ed728d23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9eca59e-3684-4aad-a36c-d726e6eb487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4736a112-5c09-4d2e-9b6c-b0c67ae67f2d}" ma:internalName="TaxCatchAll" ma:showField="CatchAllData" ma:web="c9eca59e-3684-4aad-a36c-d726e6eb4870">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2FE3A7-AA4B-4A8F-8246-B1F1899213F0}">
  <ds:schemaRefs>
    <ds:schemaRef ds:uri="61c1d967-e808-42ab-84e6-7ed728d235ee"/>
    <ds:schemaRef ds:uri="http://purl.org/dc/elements/1.1/"/>
    <ds:schemaRef ds:uri="http://purl.org/dc/dcmitype/"/>
    <ds:schemaRef ds:uri="http://schemas.microsoft.com/office/infopath/2007/PartnerControls"/>
    <ds:schemaRef ds:uri="http://schemas.microsoft.com/office/2006/metadata/properties"/>
    <ds:schemaRef ds:uri="http://purl.org/dc/terms/"/>
    <ds:schemaRef ds:uri="http://schemas.microsoft.com/office/2006/documentManagement/types"/>
    <ds:schemaRef ds:uri="c9eca59e-3684-4aad-a36c-d726e6eb4870"/>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FB8248F-1830-4B89-9CD5-616F97452B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c1d967-e808-42ab-84e6-7ed728d235ee"/>
    <ds:schemaRef ds:uri="c9eca59e-3684-4aad-a36c-d726e6eb48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41D7CAF-46E0-4D23-A102-76D3B833F3DD}">
  <ds:schemaRefs>
    <ds:schemaRef ds:uri="http://schemas.microsoft.com/sharepoint/v3/contenttype/forms"/>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8951361</vt:lpwstr>
  </property>
  <property fmtid="{D5CDD505-2E9C-101B-9397-08002B2CF9AE}" pid="4" name="OptimizationTime">
    <vt:lpwstr>20230828_1325</vt:lpwstr>
  </property>
</Properties>
</file>

<file path=docProps/app.xml><?xml version="1.0" encoding="utf-8"?>
<Properties xmlns="http://schemas.openxmlformats.org/officeDocument/2006/extended-properties" xmlns:vt="http://schemas.openxmlformats.org/officeDocument/2006/docPropsVTypes">
  <Template/>
  <TotalTime>0</TotalTime>
  <Words>2128</Words>
  <Application>Microsoft Office PowerPoint</Application>
  <PresentationFormat>Custom</PresentationFormat>
  <Paragraphs>347</Paragraphs>
  <Slides>17</Slides>
  <Notes>2</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EYInterstate</vt:lpstr>
      <vt:lpstr>EYInterstate Light</vt:lpstr>
      <vt:lpstr>EYInterstate Regular</vt:lpstr>
      <vt:lpstr>1_EY dark background</vt:lpstr>
      <vt:lpstr>EY dark background</vt:lpstr>
      <vt:lpstr>6_EY dark background</vt:lpstr>
      <vt:lpstr>8_EY dark background</vt:lpstr>
      <vt:lpstr>10_EY dark background</vt:lpstr>
      <vt:lpstr>think-cell Slide</vt:lpstr>
      <vt:lpstr>How do you turn barriers into building blocks?</vt:lpstr>
      <vt:lpstr>Disclaimer</vt:lpstr>
      <vt:lpstr>Technology continues to evolve — in 2023, the hot topic is generative AI</vt:lpstr>
      <vt:lpstr>Law firms and in-house lawyers are excited about the technology … but have no plans to use in the near future</vt:lpstr>
      <vt:lpstr>Five issues to consider as we think about AI’s impact on law</vt:lpstr>
      <vt:lpstr>The hype cycle: We are still in the early stages!</vt:lpstr>
      <vt:lpstr>What AI is good at can help us understand how it can be used in legal</vt:lpstr>
      <vt:lpstr>The history of legal AI follows a similar path as the wider economy — with new technologies creating new opportunities</vt:lpstr>
      <vt:lpstr>Legal’s tech challenges: While law department leaders believe technology has significant potential, they have struggled to realize it</vt:lpstr>
      <vt:lpstr>Legal’s tech challenges: While some technologies are used extensively, more advanced tools have yet to gain adoption</vt:lpstr>
      <vt:lpstr>Legal’s tech challenges: Law departments are struggling at every step in their technology journey</vt:lpstr>
      <vt:lpstr>Technology is a tool! Understanding how a new technology aligns to broader corporate goals is key</vt:lpstr>
      <vt:lpstr>Technology is a tool! Understanding how a new technology fits into your broader transformation journey is key</vt:lpstr>
      <vt:lpstr>Defining who is responsible for leading change is key</vt:lpstr>
      <vt:lpstr>Defining who is responsible for leading change is key</vt:lpstr>
      <vt:lpstr>Sometimes the best path toward transformation is via a new sourcing strateg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308-4316462_PA-ACC-Presentation_v1</dc:title>
  <dc:creator/>
  <cp:keywords>GCO survey; 2021 Survey Law; 2021 EY Law Survey; Law Department Survey; EY Law Survey; GCO study; eyk; Law Department Transformation Survey; Buyer Card; General Counsel Survey; Harvard Law Survey; Law survey; GCO_Global</cp:keywords>
  <cp:lastModifiedBy/>
  <cp:revision>1</cp:revision>
  <dcterms:created xsi:type="dcterms:W3CDTF">2021-05-21T13:50:15Z</dcterms:created>
  <dcterms:modified xsi:type="dcterms:W3CDTF">2023-08-28T16:13:0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YGSSubServiceLine">
    <vt:lpwstr>112</vt:lpwstr>
  </property>
  <property fmtid="{D5CDD505-2E9C-101B-9397-08002B2CF9AE}" pid="3" name="TaxKeyword">
    <vt:lpwstr>1588;#Buyer Card|e17207d0-19db-41a0-8795-a87a1f29deea;#1990;#GCO_Global|1fec37e4-5a49-43da-beba-ea51098a5c11;#992;#eyk|87b57839-6691-4140-a570-b5ce2b32db70;#1435;#General Counsel Survey|d99210d0-007e-49cb-9965-1cf1970800ff;#1434;#Law Department Transformation Survey|eca51a58-db06-4d8a-aab9-9d3ff30936ed;#1433;#Law Department Survey|b8466cfd-c58e-468d-8c73-3fa4e6fadadc;#1432;#Harvard Law Survey|43c7ac99-3c4a-4974-8a9c-0497259f4808;#1431;#EY Law Survey|5cfbec08-aedd-4280-94e2-fb9736aae73d;#1430;#Law survey|9cdbf5bd-7f1e-4518-ac4b-0d8f70d6314a;#1322;#2021 Survey Law|c86dfe31-76e8-4ef7-9ce3-02f24e0d464a;#1436;#2021 EY Law Survey|37d14ade-309e-4bf9-8abb-0ce8a22be5bc;#1376;#GCO survey|89272cd9-3c3b-454b-a684-04644db1da62;#1375;#GCO study|5f53a1eb-7774-473b-86a6-6b57cba5a61b</vt:lpwstr>
  </property>
  <property fmtid="{D5CDD505-2E9C-101B-9397-08002B2CF9AE}" pid="4" name="EYKEndorsedBy">
    <vt:lpwstr>1304;#Tax - Law|f33c6bf9-ab78-4507-be18-8573cc39dbb0</vt:lpwstr>
  </property>
  <property fmtid="{D5CDD505-2E9C-101B-9397-08002B2CF9AE}" pid="5" name="Order">
    <vt:r8>70361700</vt:r8>
  </property>
  <property fmtid="{D5CDD505-2E9C-101B-9397-08002B2CF9AE}" pid="6" name="EYGSAdditionalServiceLine1">
    <vt:lpwstr/>
  </property>
  <property fmtid="{D5CDD505-2E9C-101B-9397-08002B2CF9AE}" pid="7" name="EYGSAdditionalSubSServiceLine1">
    <vt:lpwstr/>
  </property>
  <property fmtid="{D5CDD505-2E9C-101B-9397-08002B2CF9AE}" pid="8" name="_dlc_policyId">
    <vt:lpwstr>/Lists/ContentRequests/Submission</vt:lpwstr>
  </property>
  <property fmtid="{D5CDD505-2E9C-101B-9397-08002B2CF9AE}" pid="9" name="EYKStubRecordType">
    <vt:lpwstr/>
  </property>
  <property fmtid="{D5CDD505-2E9C-101B-9397-08002B2CF9AE}" pid="10" name="EYKKnowledgeDomainOwner">
    <vt:lpwstr>621;#Tax - Law|18d0b0fd-8918-43c7-9ea5-bbe328129465</vt:lpwstr>
  </property>
  <property fmtid="{D5CDD505-2E9C-101B-9397-08002B2CF9AE}" pid="11" name="xd_ProgID">
    <vt:lpwstr/>
  </property>
  <property fmtid="{D5CDD505-2E9C-101B-9397-08002B2CF9AE}" pid="12" name="ContentTypeId">
    <vt:lpwstr>0x010100B3FF65CD9FB2754EBFBE626952F21C83</vt:lpwstr>
  </property>
  <property fmtid="{D5CDD505-2E9C-101B-9397-08002B2CF9AE}" pid="13" name="EYGSGeographicScope">
    <vt:lpwstr>17;#Global|500f1427-2ec5-408e-9c7e-c7ecab3f14e9</vt:lpwstr>
  </property>
  <property fmtid="{D5CDD505-2E9C-101B-9397-08002B2CF9AE}" pid="14" name="EYTargetAudience">
    <vt:lpwstr/>
  </property>
  <property fmtid="{D5CDD505-2E9C-101B-9397-08002B2CF9AE}" pid="15" name="EYGSSubSector">
    <vt:lpwstr/>
  </property>
  <property fmtid="{D5CDD505-2E9C-101B-9397-08002B2CF9AE}" pid="16" name="EYGSAdditionalSubServiceLine1">
    <vt:lpwstr/>
  </property>
  <property fmtid="{D5CDD505-2E9C-101B-9397-08002B2CF9AE}" pid="17" name="EYPolicyScope">
    <vt:lpwstr/>
  </property>
  <property fmtid="{D5CDD505-2E9C-101B-9397-08002B2CF9AE}" pid="18" name="EYGSAdditionalSector">
    <vt:lpwstr/>
  </property>
  <property fmtid="{D5CDD505-2E9C-101B-9397-08002B2CF9AE}" pid="19" name="EYGSSubSServiceLine">
    <vt:lpwstr/>
  </property>
  <property fmtid="{D5CDD505-2E9C-101B-9397-08002B2CF9AE}" pid="20" name="ContentLanguage">
    <vt:lpwstr>14;#English|556a818d-2fa5-4ece-a7c0-2ca1d2dc5c77</vt:lpwstr>
  </property>
  <property fmtid="{D5CDD505-2E9C-101B-9397-08002B2CF9AE}" pid="21" name="EYPolicyEnablerType">
    <vt:lpwstr/>
  </property>
  <property fmtid="{D5CDD505-2E9C-101B-9397-08002B2CF9AE}" pid="22" name="EYGSAdditionalSubServiceLine">
    <vt:lpwstr/>
  </property>
  <property fmtid="{D5CDD505-2E9C-101B-9397-08002B2CF9AE}" pid="23" name="TemplateUrl">
    <vt:lpwstr/>
  </property>
  <property fmtid="{D5CDD505-2E9C-101B-9397-08002B2CF9AE}" pid="24" name="EYRelatedToThisPolicy">
    <vt:lpwstr/>
  </property>
  <property fmtid="{D5CDD505-2E9C-101B-9397-08002B2CF9AE}" pid="25" name="EYGSAreas">
    <vt:lpwstr>2;#Americas|e8f7145b-1457-44f8-a577-7aab7608b9fc</vt:lpwstr>
  </property>
  <property fmtid="{D5CDD505-2E9C-101B-9397-08002B2CF9AE}" pid="26" name="EYContentType">
    <vt:lpwstr>1830;#Deliverables|88bbe921-a94c-45f8-a5bf-d0553f03fe0b</vt:lpwstr>
  </property>
  <property fmtid="{D5CDD505-2E9C-101B-9397-08002B2CF9AE}" pid="27" name="MethodWorkProduct">
    <vt:lpwstr/>
  </property>
  <property fmtid="{D5CDD505-2E9C-101B-9397-08002B2CF9AE}" pid="28" name="EYGSAdditionalSubSServiceLine">
    <vt:lpwstr/>
  </property>
  <property fmtid="{D5CDD505-2E9C-101B-9397-08002B2CF9AE}" pid="29" name="EYPolicyQuickLinks">
    <vt:bool>false</vt:bool>
  </property>
  <property fmtid="{D5CDD505-2E9C-101B-9397-08002B2CF9AE}" pid="30" name="kd174ad1ba2c40be8bc55586c5552a31">
    <vt:lpwstr/>
  </property>
  <property fmtid="{D5CDD505-2E9C-101B-9397-08002B2CF9AE}" pid="31" name="EYGSAdditionalServiceLine">
    <vt:lpwstr/>
  </property>
  <property fmtid="{D5CDD505-2E9C-101B-9397-08002B2CF9AE}" pid="32" name="_docset_NoMedatataSyncRequired">
    <vt:lpwstr>False</vt:lpwstr>
  </property>
  <property fmtid="{D5CDD505-2E9C-101B-9397-08002B2CF9AE}" pid="33" name="EYKRelatedKnowledgeDomain">
    <vt:lpwstr/>
  </property>
  <property fmtid="{D5CDD505-2E9C-101B-9397-08002B2CF9AE}" pid="34" name="GeographicApplicability">
    <vt:lpwstr>13;#Global|500f1427-2ec5-408e-9c7e-c7ecab3f14e9</vt:lpwstr>
  </property>
  <property fmtid="{D5CDD505-2E9C-101B-9397-08002B2CF9AE}" pid="35" name="Sector">
    <vt:lpwstr>15;#All Sectors|32600395-49d1-4199-adb5-3693fcec9e59</vt:lpwstr>
  </property>
  <property fmtid="{D5CDD505-2E9C-101B-9397-08002B2CF9AE}" pid="36" name="e3dc88ec9e8b45adafc193f1d32b9f3c">
    <vt:lpwstr/>
  </property>
  <property fmtid="{D5CDD505-2E9C-101B-9397-08002B2CF9AE}" pid="37" name="EYGSServiceLine">
    <vt:lpwstr>26;#Tax|7f0d0b8a-641e-4816-af3b-4da07ed6eaf3</vt:lpwstr>
  </property>
  <property fmtid="{D5CDD505-2E9C-101B-9397-08002B2CF9AE}" pid="38" name="EYCommunitySpecificTerms">
    <vt:lpwstr/>
  </property>
  <property fmtid="{D5CDD505-2E9C-101B-9397-08002B2CF9AE}" pid="39" name="EYMarketSegment">
    <vt:lpwstr/>
  </property>
  <property fmtid="{D5CDD505-2E9C-101B-9397-08002B2CF9AE}" pid="40" name="EYGSScoreSector">
    <vt:lpwstr/>
  </property>
  <property fmtid="{D5CDD505-2E9C-101B-9397-08002B2CF9AE}" pid="41" name="EYIssues">
    <vt:lpwstr/>
  </property>
  <property fmtid="{D5CDD505-2E9C-101B-9397-08002B2CF9AE}" pid="42" name="EYGSRegion">
    <vt:lpwstr>20;#US-Central|69da6d0a-2665-4601-820f-5228e99457a4</vt:lpwstr>
  </property>
  <property fmtid="{D5CDD505-2E9C-101B-9397-08002B2CF9AE}" pid="43" name="MethodName">
    <vt:lpwstr/>
  </property>
  <property fmtid="{D5CDD505-2E9C-101B-9397-08002B2CF9AE}" pid="44" name="EYPolicyRevisionComments">
    <vt:lpwstr/>
  </property>
  <property fmtid="{D5CDD505-2E9C-101B-9397-08002B2CF9AE}" pid="45" name="ItemRetentionFormula">
    <vt:lpwstr>&lt;formula id="Microsoft.Office.RecordsManagement.PolicyFeatures.Expiration.Formula.BuiltIn"&gt;&lt;number&gt;30&lt;/number&gt;&lt;property&gt;Created&lt;/property&gt;&lt;propertyId&gt;8c06beca-0777-48f7-91c7-6da68bc07b69&lt;/propertyId&gt;&lt;period&gt;days&lt;/period&gt;&lt;/formula&gt;</vt:lpwstr>
  </property>
  <property fmtid="{D5CDD505-2E9C-101B-9397-08002B2CF9AE}" pid="46" name="EYRelatedToOtherPolicies">
    <vt:lpwstr/>
  </property>
  <property fmtid="{D5CDD505-2E9C-101B-9397-08002B2CF9AE}" pid="47" name="EYGSAdditionalSector1">
    <vt:lpwstr/>
  </property>
  <property fmtid="{D5CDD505-2E9C-101B-9397-08002B2CF9AE}" pid="48" name="EYKBusinessTriggers">
    <vt:lpwstr/>
  </property>
  <property fmtid="{D5CDD505-2E9C-101B-9397-08002B2CF9AE}" pid="49" name="_dlc_DocIdItemGuid">
    <vt:lpwstr>6ff577cb-2ee8-4a3b-9f58-d0d7f76b3760</vt:lpwstr>
  </property>
  <property fmtid="{D5CDD505-2E9C-101B-9397-08002B2CF9AE}" pid="50" name="ServiceLineFunction">
    <vt:lpwstr>620;#Law|884fa100-6512-4a9b-85f4-6950ebe4a6b9</vt:lpwstr>
  </property>
  <property fmtid="{D5CDD505-2E9C-101B-9397-08002B2CF9AE}" pid="51" name="MediaServiceImageTags">
    <vt:lpwstr/>
  </property>
</Properties>
</file>